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2"/>
  </p:notesMasterIdLst>
  <p:sldIdLst>
    <p:sldId id="2147379231" r:id="rId2"/>
    <p:sldId id="2147379199" r:id="rId3"/>
    <p:sldId id="2147379224" r:id="rId4"/>
    <p:sldId id="2147379212" r:id="rId5"/>
    <p:sldId id="2147379226" r:id="rId6"/>
    <p:sldId id="2147379219" r:id="rId7"/>
    <p:sldId id="2147379227" r:id="rId8"/>
    <p:sldId id="2147379228" r:id="rId9"/>
    <p:sldId id="2147379229" r:id="rId10"/>
    <p:sldId id="2147379230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4528"/>
    <a:srgbClr val="CCECFF"/>
    <a:srgbClr val="6053DF"/>
    <a:srgbClr val="1E366B"/>
    <a:srgbClr val="E2FDFE"/>
    <a:srgbClr val="FF7C80"/>
    <a:srgbClr val="A30D26"/>
    <a:srgbClr val="CCFFCC"/>
    <a:srgbClr val="2D2E8B"/>
    <a:srgbClr val="3637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3CFC60-4E2A-4445-810E-6AF4FBAB987A}" v="427" dt="2022-07-08T08:37:57.4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580" autoAdjust="0"/>
  </p:normalViewPr>
  <p:slideViewPr>
    <p:cSldViewPr snapToGrid="0">
      <p:cViewPr varScale="1">
        <p:scale>
          <a:sx n="87" d="100"/>
          <a:sy n="87" d="100"/>
        </p:scale>
        <p:origin x="30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E7C0E-0468-4038-AEFC-9FE9AF0844AA}" type="datetimeFigureOut">
              <a:rPr lang="ru-RU" smtClean="0"/>
              <a:t>18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E131-3478-47DD-9091-F2D7F393F2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0167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2571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222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36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384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3372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3114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AE131-3478-47DD-9091-F2D7F393F27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49211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418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1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9.jpe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1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4" Type="http://schemas.openxmlformats.org/officeDocument/2006/relationships/image" Target="../media/image1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114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74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033B98-A0DC-4A46-B0DB-4EC9E896E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1244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033B98-A0DC-4A46-B0DB-4EC9E896E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4CA290B-F517-421A-8016-3CDBDF33BC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423692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67330E-FFDB-4810-AD8C-C17DE3960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90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67330E-FFDB-4810-AD8C-C17DE3960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5EE01E-1430-462F-B647-2AE2457CE9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94047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3810BD-D3C9-44DF-93D9-17B47CF2E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83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3810BD-D3C9-44DF-93D9-17B47CF2E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3F43A-AB94-4445-AA10-CA5241DFDB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72280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82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4AF4E5-B7B5-4DA6-B36F-C7C1943E3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505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4AF4E5-B7B5-4DA6-B36F-C7C1943E3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4E9FAA-0A5C-43ED-8E39-0941AB64E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999" y="2764203"/>
            <a:ext cx="2679257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9870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56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DDF32F-EF07-45B7-A24A-A82639A600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305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78976-9C41-495E-A9C6-B8B289866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976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78976-9C41-495E-A9C6-B8B2898666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D912A0-76A7-431C-8F00-FE5C30124C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3739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463CA7-0B20-4DB1-BB69-B2C31A4CA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68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463CA7-0B20-4DB1-BB69-B2C31A4CA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B1D1B9-4955-4114-86DC-26E33AAFDA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50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63C3A2-DE1D-4050-B51A-5D8648619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80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63C3A2-DE1D-4050-B51A-5D8648619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C444ED-2590-4127-8DE2-30A9AE78DF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8082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2D8C39-9092-4CB2-891E-814AB8CE9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364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2D8C39-9092-4CB2-891E-814AB8CE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59A5A2-14D4-44A5-9FCD-DC7AE2CC37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926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46C3D5-D607-46E3-947C-2E76E4DF9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92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46C3D5-D607-46E3-947C-2E76E4DF9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5C9E10-9401-426C-8F04-04DF20C9A6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2961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5D5F4-8FC0-4F54-9EB0-8C2B0629FF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2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5D5F4-8FC0-4F54-9EB0-8C2B0629F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E5EBFC-2F99-4772-93DF-6B6511F768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F7444C-3F6B-4689-A1FE-F1E52FC441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0" cap="all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656160"/>
            <a:ext cx="6868800" cy="154568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024E90C-F855-43BB-A7C2-FE6B9B7EB01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7600" y="547970"/>
            <a:ext cx="3094038" cy="7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7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17FF6B-1BDE-4218-A237-D52DDD338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15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517FF6B-1BDE-4218-A237-D52DDD338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F24163-B65A-473F-ACD0-17AB0ABBDF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1961AF-95D6-4F74-8CC9-3B144E4FA9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424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772955-6218-4708-8234-BBFE34110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493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772955-6218-4708-8234-BBFE34110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A9A20B-0343-43F7-A254-1C0FB1C735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5843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363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1AF3E0A-CD18-4EFA-9D18-3AA4BAEB9A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11497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AAEE2B-AD83-45CF-B035-D5C44B746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39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AAEE2B-AD83-45CF-B035-D5C44B746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66D075-4BED-4183-8FCB-80FAE2FEF2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0590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050592-0FC9-41AD-A994-4AF86DB37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68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050592-0FC9-41AD-A994-4AF86DB37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65850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F9D9A8-6FB8-426F-B41E-B8B3EE53C5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795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F9D9A8-6FB8-426F-B41E-B8B3EE53C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9BC41A6-D454-498A-B5D2-D1E134B726E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72604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7A0C0-E94F-4D69-AA79-088D52F28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485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7A0C0-E94F-4D69-AA79-088D52F28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09255D6-D8A7-4713-BD26-4899A90FA5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24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7A0C0-E94F-4D69-AA79-088D52F28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021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7A0C0-E94F-4D69-AA79-088D52F28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2BB7988-09EA-46CB-A5C7-4C4D09F59D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AA5124-F508-4941-A905-013058C9A0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372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65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E88D6E-9B9E-4047-8866-1685B890C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7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E88D6E-9B9E-4047-8866-1685B890C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DIN Pro Regular" panose="020B0504020101020102"/>
                <a:ea typeface="+mn-ea"/>
                <a:cs typeface="+mn-cs"/>
                <a:sym typeface="DIN Pro Regular" panose="020B0504020101020102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Pro Regular" panose="020B0504020101020102"/>
                <a:sym typeface="DIN Pro Regular" panose="020B0504020101020102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DIN Pro Regular" panose="020B0504020101020102"/>
                <a:sym typeface="DIN Pro Regular" panose="020B0504020101020102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DIN Pro Regular" panose="020B0504020101020102"/>
                  <a:sym typeface="DIN Pro Regular" panose="020B0504020101020102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DIN Pro Regular" panose="020B0504020101020102"/>
                  <a:ea typeface="+mn-ea"/>
                  <a:cs typeface="+mn-cs"/>
                  <a:sym typeface="DIN Pro Regular" panose="020B0504020101020102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93868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E71D81-B05E-41C8-BE34-FE711E5E0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19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E71D81-B05E-41C8-BE34-FE711E5E0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6AC7C1-7DB6-43D2-997B-3CB0BD70AA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612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43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378BFD-74A1-45D1-87C1-1D801FC78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72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E2AB74-714C-4119-99A4-3E87D8EAF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80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E2AB74-714C-4119-99A4-3E87D8EAF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9A42B0-1F77-4DA8-9D2D-C593CAC72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6735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C0C0D0-D38B-4B9B-83F2-BB6CEC28C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232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C0C0D0-D38B-4B9B-83F2-BB6CEC28C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94A3CF-29B2-455D-B754-434FE85392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CCB9BA-F3D4-4DD5-AEF0-F6E1027CD1F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86505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1C383-CC0D-4389-96ED-BBD7D9BBF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325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E1C383-CC0D-4389-96ED-BBD7D9BBF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71225A-2442-4415-A4F9-615667C00A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2A46FE-6AA4-4671-B291-30015A4E76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11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9E6DD6-E870-439D-8AFF-EDD383FB7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28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9E6DD6-E870-439D-8AFF-EDD383FB7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BE6A1E-7631-4D5D-99DF-43C90A2FCF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13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863053-13D8-430D-903E-A4C51C4F0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328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863053-13D8-430D-903E-A4C51C4F0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A81365-C217-4537-8CCD-4E7F934720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1772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7AB459-3754-4E76-9AD8-0955273F8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5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7AB459-3754-4E76-9AD8-0955273F8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1E9AB1-1700-4605-9E78-422B97F730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9726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2CD138-6C50-42FB-A680-22D9403156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8735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92CD138-6C50-42FB-A680-22D940315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E485FE-151F-4844-B13D-EA00D06B8F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35108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451B9A-95A8-4FBC-981B-5EEAFE536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784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451B9A-95A8-4FBC-981B-5EEAFE536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F86A0DB-4E18-458F-AF44-4164C5264A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170264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6D80AC-2BC0-44A0-B758-D3E26EAA0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823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6D80AC-2BC0-44A0-B758-D3E26EAA0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1C3777-B14E-4D30-A7B5-6ECC777D02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16281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881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4B74A4-1DAA-40CF-A27D-6813AA06D6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85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759325-60CA-4143-A3B2-09549AA94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320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759325-60CA-4143-A3B2-09549AA94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2F3C16-DD67-4595-A218-EF683E6858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C91A13-C9DB-480D-92E7-7B9005448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24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C91A13-C9DB-480D-92E7-7B9005448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EDFDF14-ADC8-4212-AC7D-F986B236A5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81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285FA1-C5C3-45C7-99BD-5A1BEB8BB5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62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285FA1-C5C3-45C7-99BD-5A1BEB8BB5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8B2996-047F-4B4B-BD1D-419CAEF709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62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F43F85-EE48-4030-8D7B-B800B383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226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F43F85-EE48-4030-8D7B-B800B383AE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6E7269-F7A6-40E4-84B3-893B15CFD8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1366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B1EEA0-3DA4-4307-B845-EBFB4BB8AE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67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B1EEA0-3DA4-4307-B845-EBFB4BB8A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0C766EF-A25D-40B0-AB4C-577E497959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948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C8CF3B-3973-4D83-8291-FBEBFA7BD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022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2C8CF3B-3973-4D83-8291-FBEBFA7BD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B8BBEB-D685-4C62-8B59-A28CF6CE2C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6465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D5B41C-E3DC-4385-80A7-CEB1878AE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93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D5B41C-E3DC-4385-80A7-CEB1878AE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ED8164A-97A2-49E5-BED6-90E36C3802C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12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dient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CE6701-5C4D-48EE-9325-2BF39CA9E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16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CE6701-5C4D-48EE-9325-2BF39CA9E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565AEF-7F22-4F48-9D67-A381F6386B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584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306639-AC69-4FC2-AC47-76009FDD4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29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306639-AC69-4FC2-AC47-76009FDD4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6AECC0-AE9F-400A-AD8C-7C7C8F4095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DF43F8D-573E-45E1-BE38-56F7B976524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8420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F21E2B-5D98-4EA4-A506-82DC50DA94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593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F21E2B-5D98-4EA4-A506-82DC50DA9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42C886-A7F3-4559-920B-7E71E813BC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n-ea"/>
              <a:sym typeface="DIN Pro Regular" panose="020B050402010102010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1215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710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7FB06E9-1716-47F0-8CE7-ACCB8B9031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b="14445"/>
          <a:stretch>
            <a:fillRect/>
          </a:stretch>
        </p:blipFill>
        <p:spPr>
          <a:xfrm>
            <a:off x="0" y="1"/>
            <a:ext cx="12191999" cy="5867335"/>
          </a:xfrm>
          <a:custGeom>
            <a:avLst/>
            <a:gdLst>
              <a:gd name="connsiteX0" fmla="*/ 0 w 12191999"/>
              <a:gd name="connsiteY0" fmla="*/ 0 h 5867335"/>
              <a:gd name="connsiteX1" fmla="*/ 12191999 w 12191999"/>
              <a:gd name="connsiteY1" fmla="*/ 0 h 5867335"/>
              <a:gd name="connsiteX2" fmla="*/ 12191999 w 12191999"/>
              <a:gd name="connsiteY2" fmla="*/ 4945992 h 5867335"/>
              <a:gd name="connsiteX3" fmla="*/ 3150413 w 12191999"/>
              <a:gd name="connsiteY3" fmla="*/ 4945992 h 5867335"/>
              <a:gd name="connsiteX4" fmla="*/ 2217725 w 12191999"/>
              <a:gd name="connsiteY4" fmla="*/ 5867335 h 5867335"/>
              <a:gd name="connsiteX5" fmla="*/ 2217725 w 12191999"/>
              <a:gd name="connsiteY5" fmla="*/ 4945992 h 5867335"/>
              <a:gd name="connsiteX6" fmla="*/ 0 w 12191999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5867335">
                <a:moveTo>
                  <a:pt x="0" y="0"/>
                </a:moveTo>
                <a:lnTo>
                  <a:pt x="12191999" y="0"/>
                </a:lnTo>
                <a:lnTo>
                  <a:pt x="12191999" y="4945992"/>
                </a:lnTo>
                <a:lnTo>
                  <a:pt x="3150413" y="4945992"/>
                </a:lnTo>
                <a:lnTo>
                  <a:pt x="2217725" y="5867335"/>
                </a:lnTo>
                <a:lnTo>
                  <a:pt x="2217725" y="4945992"/>
                </a:lnTo>
                <a:lnTo>
                  <a:pt x="0" y="4945992"/>
                </a:lnTo>
                <a:close/>
              </a:path>
            </a:pathLst>
          </a:custGeom>
        </p:spPr>
      </p:pic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172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ADA59A-F4CC-496C-9B7D-EE5FBAE2E5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16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ADA59A-F4CC-496C-9B7D-EE5FBAE2E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A57CBAB-9F6C-45E1-AD24-B8823692E2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n-ea"/>
              <a:sym typeface="DIN Pro Cond Bold" panose="020B0806020101010102" pitchFamily="34" charset="-5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1FC92-03BD-47EF-BE19-F4FDEE7AB5A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DIN Pro Regular" panose="020B0504020101020102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262651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DD13E0-BAA5-440F-936E-E81764A21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316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DD13E0-BAA5-440F-936E-E81764A21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93B9D1-AEC2-4755-91C4-8FCD0B4E0A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795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B460DD-C56A-4EF4-BE2A-E2C6104DC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624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B460DD-C56A-4EF4-BE2A-E2C6104DC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8297"/>
            <a:ext cx="2819400" cy="168103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j-lt"/>
                <a:sym typeface="DIN Pro Regular" panose="020B0504020101020102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528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adien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AC9F3-BFCF-4140-8CB4-016BA6FBD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86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AC9F3-BFCF-4140-8CB4-016BA6FBD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04716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B58A04-2BC2-4627-9DFB-4812C5D8F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51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B58A04-2BC2-4627-9DFB-4812C5D8F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83370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788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311511" y="1115416"/>
            <a:ext cx="208505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497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700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00030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474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91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154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0453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28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311511" y="1115416"/>
            <a:ext cx="208505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706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767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DIN Pro Regular" panose="020B0504020101020102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94034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57CD3E-F39C-429A-8CCF-A268F2EA77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432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57CD3E-F39C-429A-8CCF-A268F2EA7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59F3BE-23E1-497E-BECD-ADBD8265D1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463E2C-09BA-467C-8F89-19697E8334D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005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259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7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8261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015402"/>
            <a:ext cx="2679257" cy="609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4400" dirty="0">
                <a:solidFill>
                  <a:schemeClr val="bg1"/>
                </a:solidFill>
                <a:latin typeface="+mj-lt"/>
                <a:sym typeface="DIN Pro Regular" panose="020B0504020101020102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73336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423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8297"/>
            <a:ext cx="2819400" cy="168103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j-lt"/>
                <a:sym typeface="DIN Pro Regular" panose="020B0504020101020102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j-lt"/>
              <a:ea typeface="+mn-ea"/>
              <a:cs typeface="+mn-cs"/>
              <a:sym typeface="DIN Pro Regular" panose="020B0504020101020102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04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року и нажми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6192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Располагайте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отображения/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196322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20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22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348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5400000" flipH="1">
            <a:off x="5701152" y="-5158528"/>
            <a:ext cx="635725" cy="12038031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05175" y="230845"/>
            <a:ext cx="5412582" cy="73068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" y="1178350"/>
            <a:ext cx="12192000" cy="56796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59401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009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380CFC-DCA9-4428-80D7-4A5C42D2A5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5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8"/>
            <a:ext cx="12192000" cy="6858000"/>
          </a:xfrm>
          <a:prstGeom prst="rect">
            <a:avLst/>
          </a:prstGeom>
        </p:spPr>
      </p:pic>
      <p:sp>
        <p:nvSpPr>
          <p:cNvPr id="7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176527"/>
            <a:ext cx="105232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105232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25856"/>
            <a:ext cx="105232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FFFFFF"/>
                </a:solidFill>
                <a:latin typeface="+mj-lt"/>
                <a:sym typeface="DIN Pro Regular" panose="020B050402010102010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E45EB92-096F-429D-BE26-DCB99EB5B9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47738" y="-42942"/>
            <a:ext cx="3944262" cy="197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02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378BFD-74A1-45D1-87C1-1D801FC78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19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460A33-C675-4F36-8E8E-43D7BBBDAE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81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C0CA94-813A-4312-8268-A6FC8CF05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921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C0CA94-813A-4312-8268-A6FC8CF05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0B57EF9-C21E-4B51-9C4A-3FBD4F29262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j-lt"/>
              <a:sym typeface="DIN Pro Regular" panose="020B0504020101020102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17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5400000" flipH="1">
            <a:off x="5701152" y="-5158528"/>
            <a:ext cx="635725" cy="12038031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505175" y="230845"/>
            <a:ext cx="5412582" cy="73068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1" y="1178350"/>
            <a:ext cx="12192000" cy="56796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393626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141875-E202-44B3-8C33-B115B9A04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728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141875-E202-44B3-8C33-B115B9A04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D5F813-575B-43D7-AB8C-80991C7CBE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DIN Pro Regular" panose="020B0504020101020102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761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3C7DAC-DF4A-4449-86A2-246162598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25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3C7DAC-DF4A-4449-86A2-246162598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F99CA4-CA8E-4BFA-B7C9-74DB5A95AC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DIN Pro Regular" panose="020B0504020101020102"/>
              <a:ea typeface="+mj-ea"/>
              <a:cs typeface="+mj-cs"/>
              <a:sym typeface="DIN Pro Regular" panose="020B050402010102010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DIN Pro Regular" panose="020B0504020101020102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sym typeface="DIN Pro Regular" panose="020B0504020101020102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417091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851416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7385A9A-D6F7-4C49-8BC6-2B822554EAEF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sym typeface="DIN Pro Regular" panose="020B0504020101020102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DIN Pro Regular" panose="020B0504020101020102"/>
                <a:ea typeface="+mn-ea"/>
                <a:cs typeface="+mn-cs"/>
                <a:sym typeface="DIN Pro Regular" panose="020B0504020101020102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DIN Pro Regular" panose="020B0504020101020102"/>
              <a:ea typeface="+mn-ea"/>
              <a:cs typeface="+mn-cs"/>
              <a:sym typeface="DIN Pro Regular" panose="020B0504020101020102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438927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5" r:id="rId63"/>
    <p:sldLayoutId id="2147483727" r:id="rId64"/>
    <p:sldLayoutId id="2147483660" r:id="rId65"/>
    <p:sldLayoutId id="2147483729" r:id="rId66"/>
    <p:sldLayoutId id="2147483731" r:id="rId67"/>
    <p:sldLayoutId id="2147483745" r:id="rId68"/>
    <p:sldLayoutId id="2147483746" r:id="rId69"/>
    <p:sldLayoutId id="2147483748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  <a:sym typeface="DIN Pro Regular" panose="020B0504020101020102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DIN Pro Regular" panose="020B0504020101020102"/>
          <a:ea typeface="+mn-ea"/>
          <a:cs typeface="+mn-cs"/>
          <a:sym typeface="DIN Pro Regular" panose="020B0504020101020102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18.e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8.emf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9.xml"/><Relationship Id="rId7" Type="http://schemas.openxmlformats.org/officeDocument/2006/relationships/image" Target="../media/image18.emf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0.png"/><Relationship Id="rId11" Type="http://schemas.openxmlformats.org/officeDocument/2006/relationships/image" Target="../media/image23.jpeg"/><Relationship Id="rId5" Type="http://schemas.openxmlformats.org/officeDocument/2006/relationships/image" Target="../media/image301.png"/><Relationship Id="rId10" Type="http://schemas.openxmlformats.org/officeDocument/2006/relationships/image" Target="../media/image210.png"/><Relationship Id="rId4" Type="http://schemas.openxmlformats.org/officeDocument/2006/relationships/image" Target="../media/image241.png"/><Relationship Id="rId9" Type="http://schemas.openxmlformats.org/officeDocument/2006/relationships/image" Target="../media/image20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en-US" dirty="0"/>
              <a:t>QR </a:t>
            </a:r>
            <a:r>
              <a:rPr lang="ru-RU" dirty="0"/>
              <a:t>коды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8AB845B-D209-8B88-8998-E67F4C855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4977" y="1308650"/>
            <a:ext cx="3942482" cy="3980634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2D78EB3-751C-143E-44E4-8166320A0C03}"/>
              </a:ext>
            </a:extLst>
          </p:cNvPr>
          <p:cNvSpPr/>
          <p:nvPr/>
        </p:nvSpPr>
        <p:spPr>
          <a:xfrm>
            <a:off x="8453930" y="5318517"/>
            <a:ext cx="4447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Задание</a:t>
            </a:r>
            <a:endParaRPr lang="en-US" sz="2400" dirty="0">
              <a:solidFill>
                <a:schemeClr val="tx2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E252F59-9FD7-3505-704C-415A920091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10" y="1308650"/>
            <a:ext cx="3980634" cy="3980634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842487D-1BD3-63A7-848B-B386BDD6CC34}"/>
              </a:ext>
            </a:extLst>
          </p:cNvPr>
          <p:cNvSpPr/>
          <p:nvPr/>
        </p:nvSpPr>
        <p:spPr>
          <a:xfrm>
            <a:off x="1570853" y="5318517"/>
            <a:ext cx="4447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Телеграм-канал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06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209233" y="2959763"/>
            <a:ext cx="80543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i="0" dirty="0">
                <a:solidFill>
                  <a:schemeClr val="bg1"/>
                </a:solidFill>
                <a:effectLst/>
                <a:latin typeface="Helvetica Neue"/>
              </a:rPr>
              <a:t>Спасибо за внимание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942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41220" y="2665039"/>
            <a:ext cx="80543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Helvetica Neue"/>
              </a:rPr>
              <a:t>Виртуальная </a:t>
            </a:r>
            <a:r>
              <a:rPr lang="ru-RU" sz="3200" b="1" dirty="0" err="1">
                <a:solidFill>
                  <a:schemeClr val="bg1"/>
                </a:solidFill>
                <a:latin typeface="Helvetica Neue"/>
              </a:rPr>
              <a:t>расходометрия</a:t>
            </a:r>
            <a:r>
              <a:rPr lang="ru-RU" sz="3200" b="1" dirty="0">
                <a:solidFill>
                  <a:schemeClr val="bg1"/>
                </a:solidFill>
                <a:latin typeface="Helvetica Neue"/>
              </a:rPr>
              <a:t> для скважин, оснащенных ЭЦН</a:t>
            </a:r>
            <a:endParaRPr lang="ru-RU" sz="3200" b="1" i="0" dirty="0">
              <a:solidFill>
                <a:schemeClr val="bg1"/>
              </a:solidFill>
              <a:effectLst/>
              <a:latin typeface="Helvetica Neue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818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2F8A68-1CFC-40B9-9BC0-8CB6D0D689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5400" dirty="0">
              <a:solidFill>
                <a:srgbClr val="FFFFFF"/>
              </a:solidFill>
              <a:latin typeface="DIN Pro Cond Bold" panose="020B0806020101010102" pitchFamily="34" charset="-52"/>
              <a:ea typeface="+mj-ea"/>
              <a:cs typeface="+mj-cs"/>
              <a:sym typeface="DIN Pro Cond Bold" panose="020B0806020101010102" pitchFamily="34" charset="-52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0389" y="2054259"/>
            <a:ext cx="2645651" cy="254474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504051" y="4669700"/>
            <a:ext cx="468794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Бобов Михаил Борисович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Специалист по разработке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ОО </a:t>
            </a:r>
            <a:r>
              <a:rPr lang="ru-RU" sz="1400" b="1" dirty="0" err="1">
                <a:solidFill>
                  <a:schemeClr val="bg1"/>
                </a:solidFill>
              </a:rPr>
              <a:t>Газпромнефть</a:t>
            </a:r>
            <a:r>
              <a:rPr lang="ru-RU" sz="1400" b="1" dirty="0">
                <a:solidFill>
                  <a:schemeClr val="bg1"/>
                </a:solidFill>
              </a:rPr>
              <a:t> – Цифровые решения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9470" y="2054259"/>
            <a:ext cx="2635330" cy="254511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62329" y="4669701"/>
            <a:ext cx="468794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всепян Эрик Эдуардович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Специалист по разработке</a:t>
            </a:r>
            <a:endParaRPr lang="en-US" sz="1400" b="1" dirty="0">
              <a:solidFill>
                <a:schemeClr val="bg1"/>
              </a:solidFill>
            </a:endParaRPr>
          </a:p>
          <a:p>
            <a:r>
              <a:rPr lang="ru-RU" sz="1400" b="1" dirty="0">
                <a:solidFill>
                  <a:schemeClr val="bg1"/>
                </a:solidFill>
              </a:rPr>
              <a:t>ООО </a:t>
            </a:r>
            <a:r>
              <a:rPr lang="ru-RU" sz="1400" b="1" dirty="0" err="1">
                <a:solidFill>
                  <a:schemeClr val="bg1"/>
                </a:solidFill>
              </a:rPr>
              <a:t>Газпромнефть</a:t>
            </a:r>
            <a:r>
              <a:rPr lang="ru-RU" sz="1400" b="1" dirty="0">
                <a:solidFill>
                  <a:schemeClr val="bg1"/>
                </a:solidFill>
              </a:rPr>
              <a:t> – Цифровые решения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 txBox="1">
            <a:spLocks/>
          </p:cNvSpPr>
          <p:nvPr/>
        </p:nvSpPr>
        <p:spPr bwMode="ltGray">
          <a:xfrm>
            <a:off x="343399" y="0"/>
            <a:ext cx="11413757" cy="61049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540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DIN Pro Regular" panose="020B0504020101020102"/>
              </a:defRPr>
            </a:lvl1pPr>
          </a:lstStyle>
          <a:p>
            <a:r>
              <a:rPr lang="ru-RU" sz="2400" dirty="0"/>
              <a:t>Команда лекторо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152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 err="1"/>
              <a:t>Хакатон</a:t>
            </a:r>
            <a:r>
              <a:rPr lang="ru-RU" dirty="0"/>
              <a:t> – Это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3118" y="1241197"/>
            <a:ext cx="444796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</a:rPr>
              <a:t>Форум для разработчиков, во время которого специалисты из разных областей разработки программного обеспечения (программисты, дизайнеры, менеджеры) сообща решают какую-либо проблему на время.</a:t>
            </a:r>
            <a:endParaRPr lang="en-US" sz="2400" dirty="0">
              <a:solidFill>
                <a:schemeClr val="tx2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5142" y="1303648"/>
            <a:ext cx="6402930" cy="450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6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25722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Физические расходомеры</a:t>
            </a:r>
          </a:p>
        </p:txBody>
      </p:sp>
      <p:sp>
        <p:nvSpPr>
          <p:cNvPr id="5" name="Овал 4"/>
          <p:cNvSpPr/>
          <p:nvPr/>
        </p:nvSpPr>
        <p:spPr>
          <a:xfrm>
            <a:off x="1584959" y="171601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028699" y="284425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1028699" y="3993447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790699" y="5297412"/>
            <a:ext cx="296863" cy="303288"/>
          </a:xfrm>
          <a:prstGeom prst="ellipse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838700" y="2858291"/>
            <a:ext cx="723900" cy="708829"/>
          </a:xfrm>
          <a:prstGeom prst="ellipse">
            <a:avLst/>
          </a:pr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1" name="Прямая со стрелкой 10"/>
          <p:cNvCxnSpPr>
            <a:stCxn id="5" idx="6"/>
            <a:endCxn id="9" idx="1"/>
          </p:cNvCxnSpPr>
          <p:nvPr/>
        </p:nvCxnSpPr>
        <p:spPr>
          <a:xfrm>
            <a:off x="1881822" y="1867656"/>
            <a:ext cx="3062891" cy="1094441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6" idx="6"/>
            <a:endCxn id="9" idx="2"/>
          </p:cNvCxnSpPr>
          <p:nvPr/>
        </p:nvCxnSpPr>
        <p:spPr>
          <a:xfrm>
            <a:off x="1325562" y="2995896"/>
            <a:ext cx="3513138" cy="216810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7" idx="6"/>
            <a:endCxn id="9" idx="3"/>
          </p:cNvCxnSpPr>
          <p:nvPr/>
        </p:nvCxnSpPr>
        <p:spPr>
          <a:xfrm flipV="1">
            <a:off x="1325562" y="3463314"/>
            <a:ext cx="3619151" cy="681777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8" idx="6"/>
            <a:endCxn id="9" idx="4"/>
          </p:cNvCxnSpPr>
          <p:nvPr/>
        </p:nvCxnSpPr>
        <p:spPr>
          <a:xfrm flipV="1">
            <a:off x="2087562" y="3567120"/>
            <a:ext cx="3113088" cy="1881936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257300" y="1446035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1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701040" y="2569109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2</a:t>
            </a:r>
            <a:endParaRPr lang="en-US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670560" y="3701159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3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1211580" y="4932123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dirty="0"/>
              <a:t>Скважина 4</a:t>
            </a:r>
            <a:endParaRPr 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4674870" y="2588432"/>
            <a:ext cx="1047750" cy="2913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1200" b="1" dirty="0"/>
              <a:t>АГЗУ</a:t>
            </a:r>
            <a:endParaRPr lang="en-US" sz="12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032595" y="2588432"/>
            <a:ext cx="35433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Дебит скважины (</a:t>
            </a:r>
            <a:r>
              <a:rPr lang="en-US" sz="1400" b="1" dirty="0"/>
              <a:t>LIQ_RATE)</a:t>
            </a:r>
            <a:r>
              <a:rPr lang="ru-RU" sz="1400" b="1" dirty="0"/>
              <a:t> </a:t>
            </a:r>
            <a:r>
              <a:rPr lang="ru-RU" sz="1400" dirty="0"/>
              <a:t>– сколько продукции добывает скважин за определенный промежуток времени (м3/</a:t>
            </a:r>
            <a:r>
              <a:rPr lang="ru-RU" sz="1400" dirty="0" err="1"/>
              <a:t>сут</a:t>
            </a:r>
            <a:r>
              <a:rPr lang="ru-RU" sz="1400" dirty="0"/>
              <a:t>) – основной показатель работы скважины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413095" y="5471037"/>
            <a:ext cx="44577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Автоматизированная групповая замерная установка (АГЗУ) </a:t>
            </a:r>
            <a:r>
              <a:rPr lang="ru-RU" sz="1400" dirty="0"/>
              <a:t>предназначена для автоматического периодического определения продукции нефтяных скважин и контроля за их технологическими режимами.</a:t>
            </a:r>
          </a:p>
        </p:txBody>
      </p:sp>
      <p:cxnSp>
        <p:nvCxnSpPr>
          <p:cNvPr id="32" name="Прямая со стрелкой 31"/>
          <p:cNvCxnSpPr>
            <a:stCxn id="9" idx="6"/>
          </p:cNvCxnSpPr>
          <p:nvPr/>
        </p:nvCxnSpPr>
        <p:spPr>
          <a:xfrm>
            <a:off x="5562600" y="3212706"/>
            <a:ext cx="914400" cy="0"/>
          </a:xfrm>
          <a:prstGeom prst="straightConnector1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>
            <a:endCxn id="9" idx="1"/>
          </p:cNvCxnSpPr>
          <p:nvPr/>
        </p:nvCxnSpPr>
        <p:spPr>
          <a:xfrm flipH="1" flipV="1">
            <a:off x="4944713" y="2962097"/>
            <a:ext cx="255937" cy="250609"/>
          </a:xfrm>
          <a:prstGeom prst="line">
            <a:avLst/>
          </a:prstGeom>
          <a:ln w="38100">
            <a:solidFill>
              <a:srgbClr val="E71C57"/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>
            <a:endCxn id="9" idx="2"/>
          </p:cNvCxnSpPr>
          <p:nvPr/>
        </p:nvCxnSpPr>
        <p:spPr>
          <a:xfrm flipH="1">
            <a:off x="4838700" y="3212706"/>
            <a:ext cx="361950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>
            <a:endCxn id="9" idx="3"/>
          </p:cNvCxnSpPr>
          <p:nvPr/>
        </p:nvCxnSpPr>
        <p:spPr>
          <a:xfrm flipH="1">
            <a:off x="4944713" y="3212706"/>
            <a:ext cx="255937" cy="250608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endCxn id="9" idx="4"/>
          </p:cNvCxnSpPr>
          <p:nvPr/>
        </p:nvCxnSpPr>
        <p:spPr>
          <a:xfrm>
            <a:off x="5200650" y="3212706"/>
            <a:ext cx="0" cy="354414"/>
          </a:xfrm>
          <a:prstGeom prst="line">
            <a:avLst/>
          </a:prstGeom>
          <a:ln w="3810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8514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07" y="287520"/>
            <a:ext cx="10933350" cy="332399"/>
          </a:xfrm>
        </p:spPr>
        <p:txBody>
          <a:bodyPr/>
          <a:lstStyle/>
          <a:p>
            <a:r>
              <a:rPr lang="ru-RU" dirty="0"/>
              <a:t>Физические расходомеры</a:t>
            </a:r>
          </a:p>
        </p:txBody>
      </p:sp>
      <p:pic>
        <p:nvPicPr>
          <p:cNvPr id="20" name="Picture 2" descr="ООО «Завод «Нефтегазоборудование» - Автоматизированная групповая замерная  установка (АГЗУ)">
            <a:extLst>
              <a:ext uri="{FF2B5EF4-FFF2-40B4-BE49-F238E27FC236}">
                <a16:creationId xmlns:a16="http://schemas.microsoft.com/office/drawing/2014/main" id="{7C9FB8DA-98C4-4E56-A3FA-368E620B2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527" y="982980"/>
            <a:ext cx="7065216" cy="5298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8084820" y="2740513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/>
              <a:t>Особенности использования АГЗУ</a:t>
            </a: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Дорого, т.к. устройство сложное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изкая частота замеров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изкий охват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ехватка АГЗУ. </a:t>
            </a:r>
          </a:p>
        </p:txBody>
      </p:sp>
    </p:spTree>
    <p:extLst>
      <p:ext uri="{BB962C8B-B14F-4D97-AF65-F5344CB8AC3E}">
        <p14:creationId xmlns:p14="http://schemas.microsoft.com/office/powerpoint/2010/main" val="4175318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07" y="287520"/>
            <a:ext cx="10933350" cy="332399"/>
          </a:xfrm>
        </p:spPr>
        <p:txBody>
          <a:bodyPr/>
          <a:lstStyle/>
          <a:p>
            <a:r>
              <a:rPr lang="ru-RU" dirty="0"/>
              <a:t>ВИРТУАЛЬНЫЕ расходомер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1000290" y="3874770"/>
            <a:ext cx="3672239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600" dirty="0"/>
              <a:t>Увеличение частоты данных по дебиту скважины с помощью виртуальных замеров позволяет явно отслеживать работу добывающей систем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93211C-FC5F-4CFC-BAB0-72F5465DC4B7}"/>
              </a:ext>
            </a:extLst>
          </p:cNvPr>
          <p:cNvSpPr txBox="1"/>
          <p:nvPr/>
        </p:nvSpPr>
        <p:spPr>
          <a:xfrm>
            <a:off x="7400881" y="3874770"/>
            <a:ext cx="365720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90487" algn="r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600" dirty="0"/>
              <a:t>Виртуальная </a:t>
            </a:r>
            <a:r>
              <a:rPr lang="ru-RU" sz="1600" dirty="0" err="1"/>
              <a:t>расходометрия</a:t>
            </a:r>
            <a:r>
              <a:rPr lang="ru-RU" sz="1600" dirty="0"/>
              <a:t> позволяет наблюдать</a:t>
            </a:r>
            <a:r>
              <a:rPr lang="ru-RU" dirty="0"/>
              <a:t> </a:t>
            </a:r>
            <a:r>
              <a:rPr lang="ru-RU" sz="1600" dirty="0"/>
              <a:t>изменение в режиме</a:t>
            </a:r>
            <a:r>
              <a:rPr lang="ru-RU" dirty="0"/>
              <a:t> </a:t>
            </a:r>
            <a:r>
              <a:rPr lang="ru-RU" sz="1600" dirty="0"/>
              <a:t>работы скважины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 flipH="1">
            <a:off x="3863340" y="2840857"/>
            <a:ext cx="1129529" cy="81153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4361311" y="1695145"/>
            <a:ext cx="3672239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chemeClr val="tx2"/>
                </a:solidFill>
              </a:rPr>
              <a:t>Виртуальный расходомер – определение дебита жидкости по косвенным параметрам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6943590" y="2826119"/>
            <a:ext cx="1089960" cy="91530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61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6885903" y="3627120"/>
            <a:ext cx="4161535" cy="2918460"/>
          </a:xfrm>
          <a:prstGeom prst="rect">
            <a:avLst/>
          </a:prstGeom>
          <a:gradFill flip="none" rotWithShape="1">
            <a:gsLst>
              <a:gs pos="0">
                <a:schemeClr val="tx2">
                  <a:tint val="66000"/>
                  <a:satMod val="160000"/>
                </a:schemeClr>
              </a:gs>
              <a:gs pos="50000">
                <a:schemeClr val="tx2">
                  <a:tint val="44500"/>
                  <a:satMod val="160000"/>
                </a:schemeClr>
              </a:gs>
              <a:gs pos="100000">
                <a:schemeClr val="tx2">
                  <a:tint val="23500"/>
                  <a:satMod val="160000"/>
                </a:scheme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8864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Исходные данные</a:t>
            </a:r>
          </a:p>
        </p:txBody>
      </p:sp>
      <p:grpSp>
        <p:nvGrpSpPr>
          <p:cNvPr id="521" name="Группа 520">
            <a:extLst>
              <a:ext uri="{FF2B5EF4-FFF2-40B4-BE49-F238E27FC236}">
                <a16:creationId xmlns:a16="http://schemas.microsoft.com/office/drawing/2014/main" id="{6D3B7124-D746-4B8D-9085-B34906F3FD6D}"/>
              </a:ext>
            </a:extLst>
          </p:cNvPr>
          <p:cNvGrpSpPr/>
          <p:nvPr/>
        </p:nvGrpSpPr>
        <p:grpSpPr>
          <a:xfrm>
            <a:off x="613906" y="1344025"/>
            <a:ext cx="3878252" cy="4718027"/>
            <a:chOff x="542349" y="1773517"/>
            <a:chExt cx="3392212" cy="4582833"/>
          </a:xfrm>
        </p:grpSpPr>
        <p:grpSp>
          <p:nvGrpSpPr>
            <p:cNvPr id="522" name="Group 4">
              <a:extLst>
                <a:ext uri="{FF2B5EF4-FFF2-40B4-BE49-F238E27FC236}">
                  <a16:creationId xmlns:a16="http://schemas.microsoft.com/office/drawing/2014/main" id="{E648BBEE-7E94-4032-9325-F3FCE017A387}"/>
                </a:ext>
              </a:extLst>
            </p:cNvPr>
            <p:cNvGrpSpPr/>
            <p:nvPr/>
          </p:nvGrpSpPr>
          <p:grpSpPr>
            <a:xfrm>
              <a:off x="542349" y="1773517"/>
              <a:ext cx="3392212" cy="4582833"/>
              <a:chOff x="187750" y="1012639"/>
              <a:chExt cx="3392212" cy="4582833"/>
            </a:xfrm>
          </p:grpSpPr>
          <p:cxnSp>
            <p:nvCxnSpPr>
              <p:cNvPr id="529" name="Straight Connector 6">
                <a:extLst>
                  <a:ext uri="{FF2B5EF4-FFF2-40B4-BE49-F238E27FC236}">
                    <a16:creationId xmlns:a16="http://schemas.microsoft.com/office/drawing/2014/main" id="{012259FF-E9E5-4BE6-B5F5-11CB26123D26}"/>
                  </a:ext>
                </a:extLst>
              </p:cNvPr>
              <p:cNvCxnSpPr/>
              <p:nvPr/>
            </p:nvCxnSpPr>
            <p:spPr>
              <a:xfrm>
                <a:off x="187750" y="2487875"/>
                <a:ext cx="66569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0" name="Straight Connector 7">
                <a:extLst>
                  <a:ext uri="{FF2B5EF4-FFF2-40B4-BE49-F238E27FC236}">
                    <a16:creationId xmlns:a16="http://schemas.microsoft.com/office/drawing/2014/main" id="{BFA4F4F3-1C47-4D3F-A5FC-047D6ECFF3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71110" y="2487875"/>
                <a:ext cx="1769125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8">
                <a:extLst>
                  <a:ext uri="{FF2B5EF4-FFF2-40B4-BE49-F238E27FC236}">
                    <a16:creationId xmlns:a16="http://schemas.microsoft.com/office/drawing/2014/main" id="{2A0551FF-79B7-4FE7-B1EF-3A53893647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53440" y="2225382"/>
                <a:ext cx="0" cy="2914253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2" name="Straight Connector 9">
                <a:extLst>
                  <a:ext uri="{FF2B5EF4-FFF2-40B4-BE49-F238E27FC236}">
                    <a16:creationId xmlns:a16="http://schemas.microsoft.com/office/drawing/2014/main" id="{A1CEC2B3-5537-4243-833C-5DDBAAAAC4F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71110" y="2225382"/>
                <a:ext cx="0" cy="2914253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3" name="Straight Connector 10">
                <a:extLst>
                  <a:ext uri="{FF2B5EF4-FFF2-40B4-BE49-F238E27FC236}">
                    <a16:creationId xmlns:a16="http://schemas.microsoft.com/office/drawing/2014/main" id="{048BE994-C32B-4E95-9A74-0C793F9049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5020" y="5139635"/>
                <a:ext cx="1762970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34" name="Group 11">
                <a:extLst>
                  <a:ext uri="{FF2B5EF4-FFF2-40B4-BE49-F238E27FC236}">
                    <a16:creationId xmlns:a16="http://schemas.microsoft.com/office/drawing/2014/main" id="{C1F5C4FB-EA90-4C1F-B3A2-79C09D9D9582}"/>
                  </a:ext>
                </a:extLst>
              </p:cNvPr>
              <p:cNvGrpSpPr/>
              <p:nvPr/>
            </p:nvGrpSpPr>
            <p:grpSpPr>
              <a:xfrm>
                <a:off x="1589410" y="4960989"/>
                <a:ext cx="173140" cy="142240"/>
                <a:chOff x="1589410" y="4444154"/>
                <a:chExt cx="173140" cy="142240"/>
              </a:xfrm>
            </p:grpSpPr>
            <p:cxnSp>
              <p:nvCxnSpPr>
                <p:cNvPr id="596" name="Straight Connector 95">
                  <a:extLst>
                    <a:ext uri="{FF2B5EF4-FFF2-40B4-BE49-F238E27FC236}">
                      <a16:creationId xmlns:a16="http://schemas.microsoft.com/office/drawing/2014/main" id="{4A46AE4F-0EBF-4681-8599-08D648B113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8639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7" name="Straight Connector 96">
                  <a:extLst>
                    <a:ext uri="{FF2B5EF4-FFF2-40B4-BE49-F238E27FC236}">
                      <a16:creationId xmlns:a16="http://schemas.microsoft.com/office/drawing/2014/main" id="{BD34B6C2-DBC4-48C6-8211-25D51F1C30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44415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8" name="Straight Connector 97">
                  <a:extLst>
                    <a:ext uri="{FF2B5EF4-FFF2-40B4-BE49-F238E27FC236}">
                      <a16:creationId xmlns:a16="http://schemas.microsoft.com/office/drawing/2014/main" id="{7D5A20F3-D9D4-4A84-99DD-8A944A52DE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18661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5" name="Group 12">
                <a:extLst>
                  <a:ext uri="{FF2B5EF4-FFF2-40B4-BE49-F238E27FC236}">
                    <a16:creationId xmlns:a16="http://schemas.microsoft.com/office/drawing/2014/main" id="{80B968EC-7884-4C6A-ACB8-938128F4A01B}"/>
                  </a:ext>
                </a:extLst>
              </p:cNvPr>
              <p:cNvGrpSpPr/>
              <p:nvPr/>
            </p:nvGrpSpPr>
            <p:grpSpPr>
              <a:xfrm>
                <a:off x="763913" y="4960992"/>
                <a:ext cx="173140" cy="142240"/>
                <a:chOff x="1589410" y="4444154"/>
                <a:chExt cx="173140" cy="142240"/>
              </a:xfrm>
            </p:grpSpPr>
            <p:cxnSp>
              <p:nvCxnSpPr>
                <p:cNvPr id="593" name="Straight Connector 92">
                  <a:extLst>
                    <a:ext uri="{FF2B5EF4-FFF2-40B4-BE49-F238E27FC236}">
                      <a16:creationId xmlns:a16="http://schemas.microsoft.com/office/drawing/2014/main" id="{EB3CDB6E-6765-4690-8741-9A1C0007BD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8639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4" name="Straight Connector 93">
                  <a:extLst>
                    <a:ext uri="{FF2B5EF4-FFF2-40B4-BE49-F238E27FC236}">
                      <a16:creationId xmlns:a16="http://schemas.microsoft.com/office/drawing/2014/main" id="{DF3E7A7C-EE22-4031-9E62-52CDDE4DF8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444154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5" name="Straight Connector 94">
                  <a:extLst>
                    <a:ext uri="{FF2B5EF4-FFF2-40B4-BE49-F238E27FC236}">
                      <a16:creationId xmlns:a16="http://schemas.microsoft.com/office/drawing/2014/main" id="{5AA14113-E920-43D1-ADEE-C6ED7FC3598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589410" y="4518661"/>
                  <a:ext cx="17314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36" name="Straight Connector 13">
                <a:extLst>
                  <a:ext uri="{FF2B5EF4-FFF2-40B4-BE49-F238E27FC236}">
                    <a16:creationId xmlns:a16="http://schemas.microsoft.com/office/drawing/2014/main" id="{89B613C6-E88A-4AF3-A792-C7A18BFE64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3460" y="1776033"/>
                <a:ext cx="0" cy="2240764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14">
                <a:extLst>
                  <a:ext uri="{FF2B5EF4-FFF2-40B4-BE49-F238E27FC236}">
                    <a16:creationId xmlns:a16="http://schemas.microsoft.com/office/drawing/2014/main" id="{9CFB6CE6-A0B1-441F-BFDE-9942B60FDD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05960" y="1769682"/>
                <a:ext cx="0" cy="2247115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38" name="Group 16">
                <a:extLst>
                  <a:ext uri="{FF2B5EF4-FFF2-40B4-BE49-F238E27FC236}">
                    <a16:creationId xmlns:a16="http://schemas.microsoft.com/office/drawing/2014/main" id="{1A0C9CD0-CB06-4AD4-BF38-2EFF9FB5F58D}"/>
                  </a:ext>
                </a:extLst>
              </p:cNvPr>
              <p:cNvGrpSpPr/>
              <p:nvPr/>
            </p:nvGrpSpPr>
            <p:grpSpPr>
              <a:xfrm>
                <a:off x="690337" y="2042505"/>
                <a:ext cx="160147" cy="182877"/>
                <a:chOff x="690337" y="1525670"/>
                <a:chExt cx="160147" cy="182877"/>
              </a:xfrm>
            </p:grpSpPr>
            <p:cxnSp>
              <p:nvCxnSpPr>
                <p:cNvPr id="587" name="Straight Connector 82">
                  <a:extLst>
                    <a:ext uri="{FF2B5EF4-FFF2-40B4-BE49-F238E27FC236}">
                      <a16:creationId xmlns:a16="http://schemas.microsoft.com/office/drawing/2014/main" id="{02A76810-10D8-4F3E-8D35-F811944478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0337" y="1708547"/>
                  <a:ext cx="160146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Straight Connector 83">
                  <a:extLst>
                    <a:ext uri="{FF2B5EF4-FFF2-40B4-BE49-F238E27FC236}">
                      <a16:creationId xmlns:a16="http://schemas.microsoft.com/office/drawing/2014/main" id="{111E630A-4199-4504-A2BA-FDB4FE3C59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90337" y="1525671"/>
                  <a:ext cx="160147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Straight Connector 84">
                  <a:extLst>
                    <a:ext uri="{FF2B5EF4-FFF2-40B4-BE49-F238E27FC236}">
                      <a16:creationId xmlns:a16="http://schemas.microsoft.com/office/drawing/2014/main" id="{D599A4C4-7744-4595-BAEE-7E6E395F09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0337" y="1529904"/>
                  <a:ext cx="0" cy="178643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0" name="Straight Connector 85">
                  <a:extLst>
                    <a:ext uri="{FF2B5EF4-FFF2-40B4-BE49-F238E27FC236}">
                      <a16:creationId xmlns:a16="http://schemas.microsoft.com/office/drawing/2014/main" id="{BB14DB00-D7A4-418D-9C4A-FF74925D21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93295" y="1525671"/>
                  <a:ext cx="157187" cy="182876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Connector 86">
                  <a:extLst>
                    <a:ext uri="{FF2B5EF4-FFF2-40B4-BE49-F238E27FC236}">
                      <a16:creationId xmlns:a16="http://schemas.microsoft.com/office/drawing/2014/main" id="{7329EA04-932A-4C8C-A190-2239B85AF5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90337" y="1525670"/>
                  <a:ext cx="160145" cy="182877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Connector 87">
                  <a:extLst>
                    <a:ext uri="{FF2B5EF4-FFF2-40B4-BE49-F238E27FC236}">
                      <a16:creationId xmlns:a16="http://schemas.microsoft.com/office/drawing/2014/main" id="{3EAC61DC-30F0-4ED5-A309-47AB8B5B73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50482" y="1525670"/>
                  <a:ext cx="0" cy="178643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39" name="Straight Connector 17">
                <a:extLst>
                  <a:ext uri="{FF2B5EF4-FFF2-40B4-BE49-F238E27FC236}">
                    <a16:creationId xmlns:a16="http://schemas.microsoft.com/office/drawing/2014/main" id="{FA345694-B500-424B-80C5-E83C763F4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47526" y="2045681"/>
                <a:ext cx="258434" cy="105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0" name="Straight Connector 18">
                <a:extLst>
                  <a:ext uri="{FF2B5EF4-FFF2-40B4-BE49-F238E27FC236}">
                    <a16:creationId xmlns:a16="http://schemas.microsoft.com/office/drawing/2014/main" id="{12392257-BC60-4E22-B3AE-F6052B3934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23460" y="2041447"/>
                <a:ext cx="80498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1" name="Straight Connector 19">
                <a:extLst>
                  <a:ext uri="{FF2B5EF4-FFF2-40B4-BE49-F238E27FC236}">
                    <a16:creationId xmlns:a16="http://schemas.microsoft.com/office/drawing/2014/main" id="{98EC94B9-17FA-47B7-97EE-E67C90D5F8C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671113" y="2225742"/>
                <a:ext cx="894526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2" name="Straight Connector 20">
                <a:extLst>
                  <a:ext uri="{FF2B5EF4-FFF2-40B4-BE49-F238E27FC236}">
                    <a16:creationId xmlns:a16="http://schemas.microsoft.com/office/drawing/2014/main" id="{CDC940EA-5E67-41B8-A017-C9F639271B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07870" y="1492173"/>
                <a:ext cx="80498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3" name="Straight Connector 21">
                <a:extLst>
                  <a:ext uri="{FF2B5EF4-FFF2-40B4-BE49-F238E27FC236}">
                    <a16:creationId xmlns:a16="http://schemas.microsoft.com/office/drawing/2014/main" id="{519D1FD4-47C2-4760-B2A1-2F26BC913E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5960" y="1488997"/>
                <a:ext cx="0" cy="299296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4" name="Straight Connector 22">
                <a:extLst>
                  <a:ext uri="{FF2B5EF4-FFF2-40B4-BE49-F238E27FC236}">
                    <a16:creationId xmlns:a16="http://schemas.microsoft.com/office/drawing/2014/main" id="{715300F8-3B0C-483B-9448-304874AAFFC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23460" y="1779208"/>
                <a:ext cx="48939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5" name="Straight Connector 23">
                <a:extLst>
                  <a:ext uri="{FF2B5EF4-FFF2-40B4-BE49-F238E27FC236}">
                    <a16:creationId xmlns:a16="http://schemas.microsoft.com/office/drawing/2014/main" id="{C798B3A7-AC42-460D-8A30-537B7B6B81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28445" y="2041447"/>
                <a:ext cx="12872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6" name="Straight Connector 24">
                <a:extLst>
                  <a:ext uri="{FF2B5EF4-FFF2-40B4-BE49-F238E27FC236}">
                    <a16:creationId xmlns:a16="http://schemas.microsoft.com/office/drawing/2014/main" id="{2A448D36-C20A-4D6C-BB4E-B55B42BA64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48899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7" name="Straight Connector 25">
                <a:extLst>
                  <a:ext uri="{FF2B5EF4-FFF2-40B4-BE49-F238E27FC236}">
                    <a16:creationId xmlns:a16="http://schemas.microsoft.com/office/drawing/2014/main" id="{4B1A529F-B5E9-43FF-8FC7-D5618C096C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6030" y="169996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8" name="Straight Connector 26">
                <a:extLst>
                  <a:ext uri="{FF2B5EF4-FFF2-40B4-BE49-F238E27FC236}">
                    <a16:creationId xmlns:a16="http://schemas.microsoft.com/office/drawing/2014/main" id="{0AA20D80-79E2-4C89-B334-276FD51872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698379"/>
                <a:ext cx="6475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49" name="Straight Connector 27">
                <a:extLst>
                  <a:ext uri="{FF2B5EF4-FFF2-40B4-BE49-F238E27FC236}">
                    <a16:creationId xmlns:a16="http://schemas.microsoft.com/office/drawing/2014/main" id="{3CE75470-CACC-42FA-A9E5-B4D38DD05D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2854" y="1568246"/>
                <a:ext cx="6475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0" name="Straight Connector 28">
                <a:extLst>
                  <a:ext uri="{FF2B5EF4-FFF2-40B4-BE49-F238E27FC236}">
                    <a16:creationId xmlns:a16="http://schemas.microsoft.com/office/drawing/2014/main" id="{3B66465C-DA15-47AE-AC2D-0DDEA67DE5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488997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1" name="Straight Connector 29">
                <a:extLst>
                  <a:ext uri="{FF2B5EF4-FFF2-40B4-BE49-F238E27FC236}">
                    <a16:creationId xmlns:a16="http://schemas.microsoft.com/office/drawing/2014/main" id="{9CE1C21A-238C-45D5-94DE-FA2A2C3347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696790"/>
                <a:ext cx="0" cy="82417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2" name="Straight Connector 30">
                <a:extLst>
                  <a:ext uri="{FF2B5EF4-FFF2-40B4-BE49-F238E27FC236}">
                    <a16:creationId xmlns:a16="http://schemas.microsoft.com/office/drawing/2014/main" id="{DFFC455A-A637-45CF-A6CC-CE8EF5CCE0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776031"/>
                <a:ext cx="37956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3" name="Straight Connector 31">
                <a:extLst>
                  <a:ext uri="{FF2B5EF4-FFF2-40B4-BE49-F238E27FC236}">
                    <a16:creationId xmlns:a16="http://schemas.microsoft.com/office/drawing/2014/main" id="{CA638669-5C65-4305-AFC1-D8C1741469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7606" y="1491644"/>
                <a:ext cx="37956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4" name="Straight Connector 32">
                <a:extLst>
                  <a:ext uri="{FF2B5EF4-FFF2-40B4-BE49-F238E27FC236}">
                    <a16:creationId xmlns:a16="http://schemas.microsoft.com/office/drawing/2014/main" id="{AAAFF14A-D0CD-4DDE-9B87-6FC21DF21F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776031"/>
                <a:ext cx="0" cy="265416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5" name="Straight Connector 33">
                <a:extLst>
                  <a:ext uri="{FF2B5EF4-FFF2-40B4-BE49-F238E27FC236}">
                    <a16:creationId xmlns:a16="http://schemas.microsoft.com/office/drawing/2014/main" id="{32A38E0D-9BA9-4D67-BA53-4E140B0BB8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491644"/>
                <a:ext cx="22644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6" name="Straight Connector 34">
                <a:extLst>
                  <a:ext uri="{FF2B5EF4-FFF2-40B4-BE49-F238E27FC236}">
                    <a16:creationId xmlns:a16="http://schemas.microsoft.com/office/drawing/2014/main" id="{017E703D-5608-4FC5-BD4D-9CEC59AAFB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83611" y="1491644"/>
                <a:ext cx="996351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7" name="Straight Connector 35">
                <a:extLst>
                  <a:ext uri="{FF2B5EF4-FFF2-40B4-BE49-F238E27FC236}">
                    <a16:creationId xmlns:a16="http://schemas.microsoft.com/office/drawing/2014/main" id="{B328BF1B-F9EC-48B8-A4E0-605FF9E695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5639" y="1776031"/>
                <a:ext cx="0" cy="444379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8" name="Straight Connector 36">
                <a:extLst>
                  <a:ext uri="{FF2B5EF4-FFF2-40B4-BE49-F238E27FC236}">
                    <a16:creationId xmlns:a16="http://schemas.microsoft.com/office/drawing/2014/main" id="{E1E31A32-A0BB-4024-8EFE-D2466A4750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5639" y="1774445"/>
                <a:ext cx="101432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59" name="Straight Connector 37">
                <a:extLst>
                  <a:ext uri="{FF2B5EF4-FFF2-40B4-BE49-F238E27FC236}">
                    <a16:creationId xmlns:a16="http://schemas.microsoft.com/office/drawing/2014/main" id="{9AC7FF39-2F5F-416E-92EE-35D788D784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57168" y="1928431"/>
                <a:ext cx="208471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0" name="Straight Connector 38">
                <a:extLst>
                  <a:ext uri="{FF2B5EF4-FFF2-40B4-BE49-F238E27FC236}">
                    <a16:creationId xmlns:a16="http://schemas.microsoft.com/office/drawing/2014/main" id="{CC93D9A6-842E-4DE4-BF94-4D69839F0C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39196" y="1776031"/>
                <a:ext cx="22644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61" name="Oval 39">
                <a:extLst>
                  <a:ext uri="{FF2B5EF4-FFF2-40B4-BE49-F238E27FC236}">
                    <a16:creationId xmlns:a16="http://schemas.microsoft.com/office/drawing/2014/main" id="{76E9F7FE-A182-48D8-A90C-25D5373876AC}"/>
                  </a:ext>
                </a:extLst>
              </p:cNvPr>
              <p:cNvSpPr/>
              <p:nvPr/>
            </p:nvSpPr>
            <p:spPr>
              <a:xfrm>
                <a:off x="2397769" y="1785779"/>
                <a:ext cx="127268" cy="13463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562" name="Straight Connector 40">
                <a:extLst>
                  <a:ext uri="{FF2B5EF4-FFF2-40B4-BE49-F238E27FC236}">
                    <a16:creationId xmlns:a16="http://schemas.microsoft.com/office/drawing/2014/main" id="{C197096B-13B7-491D-BC4D-80A3980869C7}"/>
                  </a:ext>
                </a:extLst>
              </p:cNvPr>
              <p:cNvCxnSpPr/>
              <p:nvPr/>
            </p:nvCxnSpPr>
            <p:spPr>
              <a:xfrm flipV="1">
                <a:off x="1945230" y="1353447"/>
                <a:ext cx="0" cy="216379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3" name="Straight Connector 41">
                <a:extLst>
                  <a:ext uri="{FF2B5EF4-FFF2-40B4-BE49-F238E27FC236}">
                    <a16:creationId xmlns:a16="http://schemas.microsoft.com/office/drawing/2014/main" id="{A4B4AA39-E9E5-4639-A608-7051B9CC9A5B}"/>
                  </a:ext>
                </a:extLst>
              </p:cNvPr>
              <p:cNvCxnSpPr>
                <a:cxnSpLocks/>
                <a:endCxn id="583" idx="4"/>
              </p:cNvCxnSpPr>
              <p:nvPr/>
            </p:nvCxnSpPr>
            <p:spPr>
              <a:xfrm flipV="1">
                <a:off x="1558203" y="1448779"/>
                <a:ext cx="0" cy="4022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4" name="Straight Connector 42">
                <a:extLst>
                  <a:ext uri="{FF2B5EF4-FFF2-40B4-BE49-F238E27FC236}">
                    <a16:creationId xmlns:a16="http://schemas.microsoft.com/office/drawing/2014/main" id="{AD73BDCB-EFA7-43F1-A454-28EFCEDC65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73931" y="1407423"/>
                <a:ext cx="0" cy="87438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65" name="Straight Connector 43">
                <a:extLst>
                  <a:ext uri="{FF2B5EF4-FFF2-40B4-BE49-F238E27FC236}">
                    <a16:creationId xmlns:a16="http://schemas.microsoft.com/office/drawing/2014/main" id="{39906FE1-FB00-4B0E-8393-D33CF28761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2915" y="1953523"/>
                <a:ext cx="0" cy="87924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566" name="Group 44">
                <a:extLst>
                  <a:ext uri="{FF2B5EF4-FFF2-40B4-BE49-F238E27FC236}">
                    <a16:creationId xmlns:a16="http://schemas.microsoft.com/office/drawing/2014/main" id="{77C553B9-702D-4C36-8CED-0BA7C902166E}"/>
                  </a:ext>
                </a:extLst>
              </p:cNvPr>
              <p:cNvGrpSpPr/>
              <p:nvPr/>
            </p:nvGrpSpPr>
            <p:grpSpPr>
              <a:xfrm>
                <a:off x="1507403" y="1353447"/>
                <a:ext cx="101600" cy="95332"/>
                <a:chOff x="1507403" y="836612"/>
                <a:chExt cx="101600" cy="95332"/>
              </a:xfrm>
            </p:grpSpPr>
            <p:sp>
              <p:nvSpPr>
                <p:cNvPr id="583" name="Flowchart: Connector 78">
                  <a:extLst>
                    <a:ext uri="{FF2B5EF4-FFF2-40B4-BE49-F238E27FC236}">
                      <a16:creationId xmlns:a16="http://schemas.microsoft.com/office/drawing/2014/main" id="{81A68612-8322-4117-9849-AD5136BC82ED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84" name="Group 79">
                  <a:extLst>
                    <a:ext uri="{FF2B5EF4-FFF2-40B4-BE49-F238E27FC236}">
                      <a16:creationId xmlns:a16="http://schemas.microsoft.com/office/drawing/2014/main" id="{A0DC234E-FD12-4DB9-A1C4-9696C4A41715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85" name="Straight Connector 80">
                    <a:extLst>
                      <a:ext uri="{FF2B5EF4-FFF2-40B4-BE49-F238E27FC236}">
                        <a16:creationId xmlns:a16="http://schemas.microsoft.com/office/drawing/2014/main" id="{96C32F89-56F2-4BD0-8962-71356B71C29B}"/>
                      </a:ext>
                    </a:extLst>
                  </p:cNvPr>
                  <p:cNvCxnSpPr>
                    <a:stCxn id="583" idx="3"/>
                    <a:endCxn id="583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86" name="Isosceles Triangle 81">
                    <a:extLst>
                      <a:ext uri="{FF2B5EF4-FFF2-40B4-BE49-F238E27FC236}">
                        <a16:creationId xmlns:a16="http://schemas.microsoft.com/office/drawing/2014/main" id="{AE50F8D9-25A1-497C-AFD8-71F6E6BE933A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567" name="Group 45">
                <a:extLst>
                  <a:ext uri="{FF2B5EF4-FFF2-40B4-BE49-F238E27FC236}">
                    <a16:creationId xmlns:a16="http://schemas.microsoft.com/office/drawing/2014/main" id="{707810FF-F02F-4A32-9128-62CF0A9E34C1}"/>
                  </a:ext>
                </a:extLst>
              </p:cNvPr>
              <p:cNvGrpSpPr/>
              <p:nvPr/>
            </p:nvGrpSpPr>
            <p:grpSpPr>
              <a:xfrm>
                <a:off x="3022000" y="1302020"/>
                <a:ext cx="101600" cy="95332"/>
                <a:chOff x="1507403" y="836612"/>
                <a:chExt cx="101600" cy="95332"/>
              </a:xfrm>
            </p:grpSpPr>
            <p:sp>
              <p:nvSpPr>
                <p:cNvPr id="579" name="Flowchart: Connector 74">
                  <a:extLst>
                    <a:ext uri="{FF2B5EF4-FFF2-40B4-BE49-F238E27FC236}">
                      <a16:creationId xmlns:a16="http://schemas.microsoft.com/office/drawing/2014/main" id="{0E212F2F-77A2-4DCD-B01B-F7875C6FEB46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80" name="Group 75">
                  <a:extLst>
                    <a:ext uri="{FF2B5EF4-FFF2-40B4-BE49-F238E27FC236}">
                      <a16:creationId xmlns:a16="http://schemas.microsoft.com/office/drawing/2014/main" id="{0358BE4D-0CD8-4750-A60E-1CCFBE47C304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81" name="Straight Connector 76">
                    <a:extLst>
                      <a:ext uri="{FF2B5EF4-FFF2-40B4-BE49-F238E27FC236}">
                        <a16:creationId xmlns:a16="http://schemas.microsoft.com/office/drawing/2014/main" id="{D8C04D10-BB99-4FD1-8DC5-52AF2A3D9D38}"/>
                      </a:ext>
                    </a:extLst>
                  </p:cNvPr>
                  <p:cNvCxnSpPr>
                    <a:stCxn id="579" idx="3"/>
                    <a:endCxn id="579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82" name="Isosceles Triangle 77">
                    <a:extLst>
                      <a:ext uri="{FF2B5EF4-FFF2-40B4-BE49-F238E27FC236}">
                        <a16:creationId xmlns:a16="http://schemas.microsoft.com/office/drawing/2014/main" id="{1B6D3DDA-387C-428F-B316-A49A05B816FC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p:grpSp>
            <p:nvGrpSpPr>
              <p:cNvPr id="568" name="Group 46">
                <a:extLst>
                  <a:ext uri="{FF2B5EF4-FFF2-40B4-BE49-F238E27FC236}">
                    <a16:creationId xmlns:a16="http://schemas.microsoft.com/office/drawing/2014/main" id="{85705ECE-6BAF-49DC-84DF-CBFC7C8F0C1F}"/>
                  </a:ext>
                </a:extLst>
              </p:cNvPr>
              <p:cNvGrpSpPr/>
              <p:nvPr/>
            </p:nvGrpSpPr>
            <p:grpSpPr>
              <a:xfrm>
                <a:off x="833445" y="1849595"/>
                <a:ext cx="101600" cy="95332"/>
                <a:chOff x="1507403" y="836612"/>
                <a:chExt cx="101600" cy="95332"/>
              </a:xfrm>
            </p:grpSpPr>
            <p:sp>
              <p:nvSpPr>
                <p:cNvPr id="575" name="Flowchart: Connector 70">
                  <a:extLst>
                    <a:ext uri="{FF2B5EF4-FFF2-40B4-BE49-F238E27FC236}">
                      <a16:creationId xmlns:a16="http://schemas.microsoft.com/office/drawing/2014/main" id="{638A82A0-9D3F-464E-9E91-611687B9A764}"/>
                    </a:ext>
                  </a:extLst>
                </p:cNvPr>
                <p:cNvSpPr/>
                <p:nvPr/>
              </p:nvSpPr>
              <p:spPr>
                <a:xfrm>
                  <a:off x="1507403" y="836612"/>
                  <a:ext cx="101600" cy="95332"/>
                </a:xfrm>
                <a:prstGeom prst="flowChartConnector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grpSp>
              <p:nvGrpSpPr>
                <p:cNvPr id="576" name="Group 71">
                  <a:extLst>
                    <a:ext uri="{FF2B5EF4-FFF2-40B4-BE49-F238E27FC236}">
                      <a16:creationId xmlns:a16="http://schemas.microsoft.com/office/drawing/2014/main" id="{93EF70FB-5456-4610-8DD5-281868E83DF3}"/>
                    </a:ext>
                  </a:extLst>
                </p:cNvPr>
                <p:cNvGrpSpPr/>
                <p:nvPr/>
              </p:nvGrpSpPr>
              <p:grpSpPr>
                <a:xfrm>
                  <a:off x="1522282" y="842733"/>
                  <a:ext cx="75504" cy="75250"/>
                  <a:chOff x="1522282" y="842733"/>
                  <a:chExt cx="75504" cy="75250"/>
                </a:xfrm>
              </p:grpSpPr>
              <p:cxnSp>
                <p:nvCxnSpPr>
                  <p:cNvPr id="577" name="Straight Connector 72">
                    <a:extLst>
                      <a:ext uri="{FF2B5EF4-FFF2-40B4-BE49-F238E27FC236}">
                        <a16:creationId xmlns:a16="http://schemas.microsoft.com/office/drawing/2014/main" id="{FAD633B3-53EB-4F23-BCB0-7DF86D356239}"/>
                      </a:ext>
                    </a:extLst>
                  </p:cNvPr>
                  <p:cNvCxnSpPr>
                    <a:stCxn id="575" idx="3"/>
                    <a:endCxn id="575" idx="7"/>
                  </p:cNvCxnSpPr>
                  <p:nvPr/>
                </p:nvCxnSpPr>
                <p:spPr>
                  <a:xfrm flipV="1">
                    <a:off x="1522282" y="850573"/>
                    <a:ext cx="71842" cy="6741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78" name="Isosceles Triangle 73">
                    <a:extLst>
                      <a:ext uri="{FF2B5EF4-FFF2-40B4-BE49-F238E27FC236}">
                        <a16:creationId xmlns:a16="http://schemas.microsoft.com/office/drawing/2014/main" id="{5760E2EA-2952-4168-AF2A-D09D51F138F5}"/>
                      </a:ext>
                    </a:extLst>
                  </p:cNvPr>
                  <p:cNvSpPr/>
                  <p:nvPr/>
                </p:nvSpPr>
                <p:spPr>
                  <a:xfrm rot="2667786" flipH="1">
                    <a:off x="1552067" y="842733"/>
                    <a:ext cx="45719" cy="45719"/>
                  </a:xfrm>
                  <a:prstGeom prst="triangl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69" name="TextBox 568">
                    <a:extLst>
                      <a:ext uri="{FF2B5EF4-FFF2-40B4-BE49-F238E27FC236}">
                        <a16:creationId xmlns:a16="http://schemas.microsoft.com/office/drawing/2014/main" id="{13C63FF0-DB28-40B8-B186-DD654B354488}"/>
                      </a:ext>
                    </a:extLst>
                  </p:cNvPr>
                  <p:cNvSpPr txBox="1"/>
                  <p:nvPr/>
                </p:nvSpPr>
                <p:spPr>
                  <a:xfrm>
                    <a:off x="1021294" y="1022294"/>
                    <a:ext cx="995724" cy="27712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буф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09" name="TextBox 208">
                    <a:extLst>
                      <a:ext uri="{FF2B5EF4-FFF2-40B4-BE49-F238E27FC236}">
                        <a16:creationId xmlns:a16="http://schemas.microsoft.com/office/drawing/2014/main" id="{893AC6B8-FAED-46F0-990E-84B61637AB4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21294" y="1022294"/>
                    <a:ext cx="995724" cy="277127"/>
                  </a:xfrm>
                  <a:prstGeom prst="rect">
                    <a:avLst/>
                  </a:prstGeom>
                  <a:blipFill>
                    <a:blip r:embed="rId4"/>
                    <a:stretch>
                      <a:fillRect b="-4444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0" name="TextBox 569">
                    <a:extLst>
                      <a:ext uri="{FF2B5EF4-FFF2-40B4-BE49-F238E27FC236}">
                        <a16:creationId xmlns:a16="http://schemas.microsoft.com/office/drawing/2014/main" id="{12CF088F-A3D8-4D28-A5E1-A6F9B6F23793}"/>
                      </a:ext>
                    </a:extLst>
                  </p:cNvPr>
                  <p:cNvSpPr txBox="1"/>
                  <p:nvPr/>
                </p:nvSpPr>
                <p:spPr>
                  <a:xfrm>
                    <a:off x="2583611" y="1012639"/>
                    <a:ext cx="995724" cy="26161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лин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11" name="TextBox 210">
                    <a:extLst>
                      <a:ext uri="{FF2B5EF4-FFF2-40B4-BE49-F238E27FC236}">
                        <a16:creationId xmlns:a16="http://schemas.microsoft.com/office/drawing/2014/main" id="{22673DEB-1732-4409-89C9-D3C90B82863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583611" y="1012639"/>
                    <a:ext cx="995724" cy="261610"/>
                  </a:xfrm>
                  <a:prstGeom prst="rect">
                    <a:avLst/>
                  </a:prstGeom>
                  <a:blipFill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571" name="TextBox 570">
                <a:extLst>
                  <a:ext uri="{FF2B5EF4-FFF2-40B4-BE49-F238E27FC236}">
                    <a16:creationId xmlns:a16="http://schemas.microsoft.com/office/drawing/2014/main" id="{A98FCF8B-45A5-4ED9-8592-D7326D606F7A}"/>
                  </a:ext>
                </a:extLst>
              </p:cNvPr>
              <p:cNvSpPr txBox="1"/>
              <p:nvPr/>
            </p:nvSpPr>
            <p:spPr>
              <a:xfrm>
                <a:off x="1661500" y="1152685"/>
                <a:ext cx="603009" cy="246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000" dirty="0"/>
                  <a:t>штуцер</a:t>
                </a: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2" name="TextBox 571">
                    <a:extLst>
                      <a:ext uri="{FF2B5EF4-FFF2-40B4-BE49-F238E27FC236}">
                        <a16:creationId xmlns:a16="http://schemas.microsoft.com/office/drawing/2014/main" id="{9C399488-E9F5-4E9E-B939-7DB9ABFFED65}"/>
                      </a:ext>
                    </a:extLst>
                  </p:cNvPr>
                  <p:cNvSpPr txBox="1"/>
                  <p:nvPr/>
                </p:nvSpPr>
                <p:spPr>
                  <a:xfrm>
                    <a:off x="378757" y="1557834"/>
                    <a:ext cx="995724" cy="27674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затр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15" name="TextBox 214">
                    <a:extLst>
                      <a:ext uri="{FF2B5EF4-FFF2-40B4-BE49-F238E27FC236}">
                        <a16:creationId xmlns:a16="http://schemas.microsoft.com/office/drawing/2014/main" id="{1E41F2C1-5640-444D-B32C-FE92AB57D543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78757" y="1557834"/>
                    <a:ext cx="995724" cy="276742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3" name="TextBox 572">
                    <a:extLst>
                      <a:ext uri="{FF2B5EF4-FFF2-40B4-BE49-F238E27FC236}">
                        <a16:creationId xmlns:a16="http://schemas.microsoft.com/office/drawing/2014/main" id="{AC2C9E75-953A-457A-BB51-54168269D759}"/>
                      </a:ext>
                    </a:extLst>
                  </p:cNvPr>
                  <p:cNvSpPr txBox="1"/>
                  <p:nvPr/>
                </p:nvSpPr>
                <p:spPr>
                  <a:xfrm>
                    <a:off x="617385" y="5333862"/>
                    <a:ext cx="995724" cy="26161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100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ru-RU" sz="1100" b="0" i="1" smtClean="0">
                                  <a:latin typeface="Cambria Math" panose="02040503050406030204" pitchFamily="18" charset="0"/>
                                </a:rPr>
                                <m:t>заб</m:t>
                              </m:r>
                            </m:sub>
                          </m:sSub>
                        </m:oMath>
                      </m:oMathPara>
                    </a14:m>
                    <a:endParaRPr lang="ru-RU" sz="1100" dirty="0"/>
                  </a:p>
                </p:txBody>
              </p:sp>
            </mc:Choice>
            <mc:Fallback xmlns="">
              <p:sp>
                <p:nvSpPr>
                  <p:cNvPr id="226" name="TextBox 225">
                    <a:extLst>
                      <a:ext uri="{FF2B5EF4-FFF2-40B4-BE49-F238E27FC236}">
                        <a16:creationId xmlns:a16="http://schemas.microsoft.com/office/drawing/2014/main" id="{D38BE316-9B41-43AC-843D-B56DA14D2F0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17385" y="5333862"/>
                    <a:ext cx="995724" cy="26161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574" name="Freeform: Shape 59">
                <a:extLst>
                  <a:ext uri="{FF2B5EF4-FFF2-40B4-BE49-F238E27FC236}">
                    <a16:creationId xmlns:a16="http://schemas.microsoft.com/office/drawing/2014/main" id="{4C8F34E7-8B2B-4E34-BF54-D6C3985FCBE6}"/>
                  </a:ext>
                </a:extLst>
              </p:cNvPr>
              <p:cNvSpPr/>
              <p:nvPr/>
            </p:nvSpPr>
            <p:spPr>
              <a:xfrm>
                <a:off x="792707" y="5072932"/>
                <a:ext cx="797554" cy="333955"/>
              </a:xfrm>
              <a:custGeom>
                <a:avLst/>
                <a:gdLst>
                  <a:gd name="connsiteX0" fmla="*/ 129644 w 797554"/>
                  <a:gd name="connsiteY0" fmla="*/ 333955 h 333955"/>
                  <a:gd name="connsiteX1" fmla="*/ 50131 w 797554"/>
                  <a:gd name="connsiteY1" fmla="*/ 198783 h 333955"/>
                  <a:gd name="connsiteX2" fmla="*/ 797554 w 797554"/>
                  <a:gd name="connsiteY2" fmla="*/ 0 h 333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554" h="333955">
                    <a:moveTo>
                      <a:pt x="129644" y="333955"/>
                    </a:moveTo>
                    <a:cubicBezTo>
                      <a:pt x="34228" y="294198"/>
                      <a:pt x="-61187" y="254442"/>
                      <a:pt x="50131" y="198783"/>
                    </a:cubicBezTo>
                    <a:cubicBezTo>
                      <a:pt x="161449" y="143124"/>
                      <a:pt x="663707" y="35781"/>
                      <a:pt x="797554" y="0"/>
                    </a:cubicBezTo>
                  </a:path>
                </a:pathLst>
              </a:custGeom>
              <a:ln>
                <a:prstDash val="lg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cxnSp>
          <p:nvCxnSpPr>
            <p:cNvPr id="523" name="Straight Connector 99">
              <a:extLst>
                <a:ext uri="{FF2B5EF4-FFF2-40B4-BE49-F238E27FC236}">
                  <a16:creationId xmlns:a16="http://schemas.microsoft.com/office/drawing/2014/main" id="{3B1781E2-A13D-4850-9464-5680F1609BB3}"/>
                </a:ext>
              </a:extLst>
            </p:cNvPr>
            <p:cNvCxnSpPr>
              <a:cxnSpLocks/>
            </p:cNvCxnSpPr>
            <p:nvPr/>
          </p:nvCxnSpPr>
          <p:spPr>
            <a:xfrm>
              <a:off x="1414296" y="5176091"/>
              <a:ext cx="410166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4" name="TextBox 523">
                  <a:extLst>
                    <a:ext uri="{FF2B5EF4-FFF2-40B4-BE49-F238E27FC236}">
                      <a16:creationId xmlns:a16="http://schemas.microsoft.com/office/drawing/2014/main" id="{0ECE027D-ADB3-4611-A874-9CB6447328AF}"/>
                    </a:ext>
                  </a:extLst>
                </p:cNvPr>
                <p:cNvSpPr txBox="1"/>
                <p:nvPr/>
              </p:nvSpPr>
              <p:spPr>
                <a:xfrm>
                  <a:off x="2375717" y="5341069"/>
                  <a:ext cx="995724" cy="2616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л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F12541EC-B16F-4AE1-8B65-AEEEF0D21F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75717" y="5341069"/>
                  <a:ext cx="995724" cy="261610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5" name="TextBox 524">
                  <a:extLst>
                    <a:ext uri="{FF2B5EF4-FFF2-40B4-BE49-F238E27FC236}">
                      <a16:creationId xmlns:a16="http://schemas.microsoft.com/office/drawing/2014/main" id="{5D49DD92-DD86-43A1-9AFF-768BFD258C3C}"/>
                    </a:ext>
                  </a:extLst>
                </p:cNvPr>
                <p:cNvSpPr txBox="1"/>
                <p:nvPr/>
              </p:nvSpPr>
              <p:spPr>
                <a:xfrm>
                  <a:off x="2371617" y="5341069"/>
                  <a:ext cx="995724" cy="2616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л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06303417-38D8-4A5B-AA5E-7DCF3ADA89D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71617" y="5341069"/>
                  <a:ext cx="995724" cy="261610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6" name="TextBox 525">
                  <a:extLst>
                    <a:ext uri="{FF2B5EF4-FFF2-40B4-BE49-F238E27FC236}">
                      <a16:creationId xmlns:a16="http://schemas.microsoft.com/office/drawing/2014/main" id="{41FC35D5-B314-4ED6-938D-65E36DA4AD28}"/>
                    </a:ext>
                  </a:extLst>
                </p:cNvPr>
                <p:cNvSpPr txBox="1"/>
                <p:nvPr/>
              </p:nvSpPr>
              <p:spPr>
                <a:xfrm>
                  <a:off x="1413265" y="5334101"/>
                  <a:ext cx="427407" cy="24855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100" b="0" i="1" smtClean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ru-RU" sz="1100" b="0" i="1" smtClean="0">
                                <a:latin typeface="Cambria Math" panose="02040503050406030204" pitchFamily="18" charset="0"/>
                              </a:rPr>
                              <m:t>пр</m:t>
                            </m:r>
                          </m:sub>
                        </m:sSub>
                      </m:oMath>
                    </m:oMathPara>
                  </a14:m>
                  <a:endParaRPr lang="ru-RU" sz="1100" dirty="0"/>
                </a:p>
              </p:txBody>
            </p:sp>
          </mc:Choice>
          <mc:Fallback xmlns="">
            <p:sp>
              <p:nvSpPr>
                <p:cNvPr id="526" name="TextBox 525">
                  <a:extLst>
                    <a:ext uri="{FF2B5EF4-FFF2-40B4-BE49-F238E27FC236}">
                      <a16:creationId xmlns:a16="http://schemas.microsoft.com/office/drawing/2014/main" xmlns="" xmlns:a14="http://schemas.microsoft.com/office/drawing/2010/main" id="{41FC35D5-B314-4ED6-938D-65E36DA4AD2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13265" y="5334101"/>
                  <a:ext cx="427407" cy="248553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b="-714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527" name="Straight Arrow Connector 127">
              <a:extLst>
                <a:ext uri="{FF2B5EF4-FFF2-40B4-BE49-F238E27FC236}">
                  <a16:creationId xmlns:a16="http://schemas.microsoft.com/office/drawing/2014/main" id="{8469AABF-5F19-4550-AA5F-07A6E250F869}"/>
                </a:ext>
              </a:extLst>
            </p:cNvPr>
            <p:cNvCxnSpPr/>
            <p:nvPr/>
          </p:nvCxnSpPr>
          <p:spPr>
            <a:xfrm flipH="1">
              <a:off x="1703973" y="5602679"/>
              <a:ext cx="4131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Straight Arrow Connector 128">
              <a:extLst>
                <a:ext uri="{FF2B5EF4-FFF2-40B4-BE49-F238E27FC236}">
                  <a16:creationId xmlns:a16="http://schemas.microsoft.com/office/drawing/2014/main" id="{71E62CD1-E532-4A58-BB2F-E60167318FE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06645" y="3702078"/>
              <a:ext cx="7772" cy="4140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5" name="Прямая соединительная линия 674">
            <a:extLst>
              <a:ext uri="{FF2B5EF4-FFF2-40B4-BE49-F238E27FC236}">
                <a16:creationId xmlns:a16="http://schemas.microsoft.com/office/drawing/2014/main" id="{BA449059-5189-4C03-AC03-48143E7C52BA}"/>
              </a:ext>
            </a:extLst>
          </p:cNvPr>
          <p:cNvCxnSpPr/>
          <p:nvPr/>
        </p:nvCxnSpPr>
        <p:spPr>
          <a:xfrm>
            <a:off x="1374977" y="3872958"/>
            <a:ext cx="2715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6" name="Прямая соединительная линия 675">
            <a:extLst>
              <a:ext uri="{FF2B5EF4-FFF2-40B4-BE49-F238E27FC236}">
                <a16:creationId xmlns:a16="http://schemas.microsoft.com/office/drawing/2014/main" id="{0E07A40A-33BD-4D48-A954-1C45000CA187}"/>
              </a:ext>
            </a:extLst>
          </p:cNvPr>
          <p:cNvCxnSpPr/>
          <p:nvPr/>
        </p:nvCxnSpPr>
        <p:spPr>
          <a:xfrm>
            <a:off x="2042393" y="3872958"/>
            <a:ext cx="2715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9" name="Straight Connector 99">
            <a:extLst>
              <a:ext uri="{FF2B5EF4-FFF2-40B4-BE49-F238E27FC236}">
                <a16:creationId xmlns:a16="http://schemas.microsoft.com/office/drawing/2014/main" id="{9F1F5B98-A1F0-421F-A033-F0E7A056F925}"/>
              </a:ext>
            </a:extLst>
          </p:cNvPr>
          <p:cNvCxnSpPr>
            <a:cxnSpLocks/>
          </p:cNvCxnSpPr>
          <p:nvPr/>
        </p:nvCxnSpPr>
        <p:spPr>
          <a:xfrm>
            <a:off x="1610786" y="4707459"/>
            <a:ext cx="468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0" name="Straight Connector 99">
            <a:extLst>
              <a:ext uri="{FF2B5EF4-FFF2-40B4-BE49-F238E27FC236}">
                <a16:creationId xmlns:a16="http://schemas.microsoft.com/office/drawing/2014/main" id="{064AD640-59DA-437D-B300-CCC8FC2C62EC}"/>
              </a:ext>
            </a:extLst>
          </p:cNvPr>
          <p:cNvCxnSpPr>
            <a:cxnSpLocks/>
          </p:cNvCxnSpPr>
          <p:nvPr/>
        </p:nvCxnSpPr>
        <p:spPr>
          <a:xfrm flipV="1">
            <a:off x="2079721" y="4707460"/>
            <a:ext cx="0" cy="4435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1" name="Straight Connector 99">
            <a:extLst>
              <a:ext uri="{FF2B5EF4-FFF2-40B4-BE49-F238E27FC236}">
                <a16:creationId xmlns:a16="http://schemas.microsoft.com/office/drawing/2014/main" id="{66A4B601-827B-4AC9-AEAA-44CC4F4FC70C}"/>
              </a:ext>
            </a:extLst>
          </p:cNvPr>
          <p:cNvCxnSpPr>
            <a:cxnSpLocks/>
          </p:cNvCxnSpPr>
          <p:nvPr/>
        </p:nvCxnSpPr>
        <p:spPr>
          <a:xfrm flipV="1">
            <a:off x="1610786" y="4707460"/>
            <a:ext cx="0" cy="4435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82" name="TextBox 681">
                <a:extLst>
                  <a:ext uri="{FF2B5EF4-FFF2-40B4-BE49-F238E27FC236}">
                    <a16:creationId xmlns:a16="http://schemas.microsoft.com/office/drawing/2014/main" id="{76EC09BE-092B-4E94-96AE-FAA248956735}"/>
                  </a:ext>
                </a:extLst>
              </p:cNvPr>
              <p:cNvSpPr txBox="1"/>
              <p:nvPr/>
            </p:nvSpPr>
            <p:spPr>
              <a:xfrm>
                <a:off x="1565019" y="4796522"/>
                <a:ext cx="552196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100" b="0" i="1" smtClean="0">
                          <a:latin typeface="Cambria Math" panose="02040503050406030204" pitchFamily="18" charset="0"/>
                        </a:rPr>
                        <m:t>ЭЦН</m:t>
                      </m:r>
                    </m:oMath>
                  </m:oMathPara>
                </a14:m>
                <a:endParaRPr lang="ru-RU" sz="1100" dirty="0"/>
              </a:p>
            </p:txBody>
          </p:sp>
        </mc:Choice>
        <mc:Fallback xmlns="">
          <p:sp>
            <p:nvSpPr>
              <p:cNvPr id="682" name="TextBox 681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76EC09BE-092B-4E94-96AE-FAA2489567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5019" y="4796522"/>
                <a:ext cx="552196" cy="261610"/>
              </a:xfrm>
              <a:prstGeom prst="rect">
                <a:avLst/>
              </a:prstGeom>
              <a:blipFill rotWithShape="0"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1375245" y="3870376"/>
            <a:ext cx="930443" cy="172239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4" name="Прямоугольник 263"/>
          <p:cNvSpPr/>
          <p:nvPr/>
        </p:nvSpPr>
        <p:spPr>
          <a:xfrm>
            <a:off x="1651365" y="1834436"/>
            <a:ext cx="365726" cy="203594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5" name="Прямоугольник 264"/>
          <p:cNvSpPr/>
          <p:nvPr/>
        </p:nvSpPr>
        <p:spPr>
          <a:xfrm>
            <a:off x="2020722" y="1843792"/>
            <a:ext cx="565462" cy="285581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6" name="Прямоугольник 265"/>
          <p:cNvSpPr/>
          <p:nvPr/>
        </p:nvSpPr>
        <p:spPr>
          <a:xfrm>
            <a:off x="2586184" y="1925370"/>
            <a:ext cx="74031" cy="116224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7" name="Прямоугольник 266"/>
          <p:cNvSpPr/>
          <p:nvPr/>
        </p:nvSpPr>
        <p:spPr>
          <a:xfrm>
            <a:off x="2660216" y="1840855"/>
            <a:ext cx="1821658" cy="290599"/>
          </a:xfrm>
          <a:prstGeom prst="rect">
            <a:avLst/>
          </a:prstGeom>
          <a:solidFill>
            <a:srgbClr val="624528">
              <a:alpha val="4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5" name="Прямая со стрелкой 4"/>
          <p:cNvCxnSpPr>
            <a:endCxn id="126" idx="1"/>
          </p:cNvCxnSpPr>
          <p:nvPr/>
        </p:nvCxnSpPr>
        <p:spPr>
          <a:xfrm flipV="1">
            <a:off x="3258179" y="1973791"/>
            <a:ext cx="1906265" cy="716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7820732" y="2405480"/>
            <a:ext cx="3154748" cy="40626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rgbClr val="E71C57"/>
                </a:solidFill>
              </a:rPr>
              <a:t>Телеметрия (Частые замеры):</a:t>
            </a:r>
          </a:p>
          <a:p>
            <a:endParaRPr lang="ru-RU" sz="1800" dirty="0">
              <a:solidFill>
                <a:schemeClr val="tx2"/>
              </a:solidFill>
            </a:endParaRPr>
          </a:p>
          <a:p>
            <a:pPr marL="433387" indent="-342900">
              <a:buFontTx/>
              <a:buAutoNum type="arabicParenR"/>
            </a:pPr>
            <a:r>
              <a:rPr lang="ru-RU" sz="1200" dirty="0"/>
              <a:t>Линейное давление (</a:t>
            </a:r>
            <a:r>
              <a:rPr lang="en-US" sz="1200" dirty="0"/>
              <a:t>PLIN)</a:t>
            </a:r>
          </a:p>
          <a:p>
            <a:pPr marL="433387" indent="-342900">
              <a:buAutoNum type="arabicParenR"/>
            </a:pPr>
            <a:endParaRPr lang="ru-RU" sz="1200" dirty="0"/>
          </a:p>
          <a:p>
            <a:pPr marL="433387" indent="-342900">
              <a:buAutoNum type="arabicParenR"/>
            </a:pPr>
            <a:endParaRPr lang="ru-RU" sz="1200" dirty="0"/>
          </a:p>
          <a:p>
            <a:pPr marL="433387" indent="-342900">
              <a:buAutoNum type="arabicParenR"/>
            </a:pPr>
            <a:r>
              <a:rPr lang="ru-RU" sz="1200" dirty="0"/>
              <a:t>Давление на приеме насоса (Р</a:t>
            </a:r>
            <a:r>
              <a:rPr lang="en-US" sz="1200" dirty="0"/>
              <a:t>INP</a:t>
            </a:r>
            <a:r>
              <a:rPr lang="ru-RU" sz="1200" dirty="0"/>
              <a:t>)</a:t>
            </a:r>
            <a:endParaRPr lang="en-US" sz="1200" dirty="0"/>
          </a:p>
          <a:p>
            <a:pPr marL="433387" indent="-342900">
              <a:buAutoNum type="arabicParenR"/>
            </a:pPr>
            <a:r>
              <a:rPr lang="ru-RU" sz="1200" dirty="0"/>
              <a:t>Частота вращения двигателя (</a:t>
            </a:r>
            <a:r>
              <a:rPr lang="en-US" sz="1200" dirty="0"/>
              <a:t>FREQ_HZ)</a:t>
            </a:r>
          </a:p>
          <a:p>
            <a:pPr marL="433387" indent="-342900">
              <a:buAutoNum type="arabicParenR"/>
            </a:pPr>
            <a:r>
              <a:rPr lang="ru-RU" sz="1200" dirty="0"/>
              <a:t>Активная мощность двигателя (</a:t>
            </a:r>
            <a:r>
              <a:rPr lang="en-US" sz="1200" dirty="0"/>
              <a:t>ACTIVE_POWER)</a:t>
            </a:r>
            <a:endParaRPr lang="ru-RU" sz="1200" dirty="0"/>
          </a:p>
          <a:p>
            <a:pPr marL="433387" indent="-342900">
              <a:buAutoNum type="arabicParenR"/>
            </a:pPr>
            <a:r>
              <a:rPr lang="ru-RU" sz="1200" dirty="0"/>
              <a:t>Температура погружного электродвигателя (</a:t>
            </a:r>
            <a:r>
              <a:rPr lang="en-US" sz="1200" dirty="0"/>
              <a:t>PED_T)</a:t>
            </a:r>
          </a:p>
          <a:p>
            <a:pPr marL="433387" indent="-342900">
              <a:buAutoNum type="arabicParenR"/>
            </a:pPr>
            <a:r>
              <a:rPr lang="ru-RU" sz="1200" dirty="0"/>
              <a:t>Сила тока по трем фазам (</a:t>
            </a:r>
            <a:r>
              <a:rPr lang="en-US" sz="1200" dirty="0"/>
              <a:t>I_A, I_B, I_C)</a:t>
            </a:r>
          </a:p>
          <a:p>
            <a:pPr marL="433387" indent="-342900">
              <a:buAutoNum type="arabicParenR"/>
            </a:pPr>
            <a:r>
              <a:rPr lang="ru-RU" sz="1200" dirty="0"/>
              <a:t>Напряжение по трем фазам (</a:t>
            </a:r>
            <a:r>
              <a:rPr lang="en-US" sz="1200" dirty="0"/>
              <a:t>U_AB, U_BC, U_CA)</a:t>
            </a:r>
          </a:p>
          <a:p>
            <a:pPr marL="433387" indent="-342900">
              <a:buAutoNum type="arabicParenR"/>
            </a:pPr>
            <a:r>
              <a:rPr lang="ru-RU" sz="1200" dirty="0"/>
              <a:t>Максимально допустимое напряжение (</a:t>
            </a:r>
            <a:r>
              <a:rPr lang="en-US" sz="1200" dirty="0"/>
              <a:t>U_OTP)</a:t>
            </a:r>
          </a:p>
          <a:p>
            <a:pPr marL="433387" indent="-342900">
              <a:buAutoNum type="arabicParenR"/>
            </a:pPr>
            <a:r>
              <a:rPr lang="ru-RU" sz="1200" dirty="0"/>
              <a:t>Косинус угла мощности (</a:t>
            </a:r>
            <a:r>
              <a:rPr lang="en-US" sz="1200" dirty="0"/>
              <a:t>COS_PHI)</a:t>
            </a:r>
            <a:endParaRPr lang="ru-RU" sz="12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7820732" y="503869"/>
            <a:ext cx="3226707" cy="13849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chemeClr val="tx2"/>
                </a:solidFill>
              </a:rPr>
              <a:t>Редкие замеры:</a:t>
            </a:r>
          </a:p>
          <a:p>
            <a:endParaRPr lang="ru-RU" sz="1800" dirty="0">
              <a:solidFill>
                <a:schemeClr val="tx2"/>
              </a:solidFill>
            </a:endParaRPr>
          </a:p>
          <a:p>
            <a:pPr marL="433387" indent="-342900">
              <a:buAutoNum type="arabicParenR"/>
            </a:pPr>
            <a:r>
              <a:rPr lang="ru-RU" sz="1200" dirty="0"/>
              <a:t>Дебит жидкости (</a:t>
            </a:r>
            <a:r>
              <a:rPr lang="en-US" sz="1200" dirty="0"/>
              <a:t>LIQ_RATE)</a:t>
            </a:r>
          </a:p>
          <a:p>
            <a:pPr marL="433387" indent="-342900">
              <a:buAutoNum type="arabicParenR"/>
            </a:pPr>
            <a:r>
              <a:rPr lang="ru-RU" sz="1200" dirty="0"/>
              <a:t>Дебит нефти (</a:t>
            </a:r>
            <a:r>
              <a:rPr lang="en-US" sz="1200" dirty="0"/>
              <a:t>OIL_RATE)</a:t>
            </a:r>
            <a:r>
              <a:rPr lang="ru-RU" sz="1200" dirty="0"/>
              <a:t>*</a:t>
            </a:r>
          </a:p>
          <a:p>
            <a:pPr marL="433387" indent="-342900">
              <a:buAutoNum type="arabicParenR"/>
            </a:pPr>
            <a:r>
              <a:rPr lang="ru-RU" sz="1200" dirty="0"/>
              <a:t>Дебит газа (</a:t>
            </a:r>
            <a:r>
              <a:rPr lang="en-US" sz="1200" dirty="0"/>
              <a:t>QGAS</a:t>
            </a:r>
            <a:r>
              <a:rPr lang="ru-RU" sz="1200" dirty="0"/>
              <a:t>)</a:t>
            </a:r>
            <a:endParaRPr lang="en-US" sz="1200" dirty="0"/>
          </a:p>
          <a:p>
            <a:pPr marL="433387" indent="-342900">
              <a:buAutoNum type="arabicParenR"/>
            </a:pPr>
            <a:r>
              <a:rPr lang="ru-RU" sz="1200" dirty="0" err="1"/>
              <a:t>Обводненность</a:t>
            </a:r>
            <a:r>
              <a:rPr lang="ru-RU" sz="1200" dirty="0"/>
              <a:t> (</a:t>
            </a:r>
            <a:r>
              <a:rPr lang="en-US" sz="1200" dirty="0"/>
              <a:t>WATER_CUT)</a:t>
            </a:r>
            <a:r>
              <a:rPr lang="ru-RU" sz="1200" dirty="0"/>
              <a:t>**</a:t>
            </a:r>
            <a:endParaRPr lang="en-US" sz="1200" dirty="0"/>
          </a:p>
        </p:txBody>
      </p:sp>
      <p:cxnSp>
        <p:nvCxnSpPr>
          <p:cNvPr id="6" name="Прямая со стрелкой 5"/>
          <p:cNvCxnSpPr>
            <a:stCxn id="98" idx="2"/>
          </p:cNvCxnSpPr>
          <p:nvPr/>
        </p:nvCxnSpPr>
        <p:spPr>
          <a:xfrm flipH="1">
            <a:off x="2117216" y="4228732"/>
            <a:ext cx="2055586" cy="618243"/>
          </a:xfrm>
          <a:prstGeom prst="straightConnector1">
            <a:avLst/>
          </a:prstGeom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85D4ADFE-8EE5-4B33-83BD-55478EC5DAE9}"/>
              </a:ext>
            </a:extLst>
          </p:cNvPr>
          <p:cNvSpPr txBox="1"/>
          <p:nvPr/>
        </p:nvSpPr>
        <p:spPr>
          <a:xfrm>
            <a:off x="3286082" y="3767067"/>
            <a:ext cx="17734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90487">
              <a:defRPr sz="1400">
                <a:solidFill>
                  <a:schemeClr val="bg2">
                    <a:lumMod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200" dirty="0">
                <a:solidFill>
                  <a:srgbClr val="E71C57"/>
                </a:solidFill>
              </a:rPr>
              <a:t>Замер телеметрии (ТМ)</a:t>
            </a:r>
          </a:p>
        </p:txBody>
      </p:sp>
      <p:cxnSp>
        <p:nvCxnSpPr>
          <p:cNvPr id="102" name="Прямая со стрелкой 101"/>
          <p:cNvCxnSpPr>
            <a:stCxn id="98" idx="0"/>
          </p:cNvCxnSpPr>
          <p:nvPr/>
        </p:nvCxnSpPr>
        <p:spPr>
          <a:xfrm flipH="1" flipV="1">
            <a:off x="3922246" y="1975466"/>
            <a:ext cx="250556" cy="1791601"/>
          </a:xfrm>
          <a:prstGeom prst="straightConnector1">
            <a:avLst/>
          </a:prstGeom>
          <a:ln w="12700" cap="flat" cmpd="sng" algn="ctr">
            <a:solidFill>
              <a:srgbClr val="E71C57"/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6876517" y="3762512"/>
            <a:ext cx="7486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0487"/>
            <a:r>
              <a:rPr lang="ru-RU" dirty="0">
                <a:solidFill>
                  <a:schemeClr val="bg1"/>
                </a:solidFill>
              </a:rPr>
              <a:t>ЭЦН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28086" y="6343868"/>
            <a:ext cx="42008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7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*Дебит нефти = Дебит жидкости – Дебит воды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м3/</a:t>
            </a:r>
            <a:r>
              <a:rPr lang="ru-RU" sz="1000" dirty="0" err="1">
                <a:solidFill>
                  <a:schemeClr val="bg1">
                    <a:lumMod val="50000"/>
                  </a:schemeClr>
                </a:solidFill>
              </a:rPr>
              <a:t>сут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  <a:p>
            <a:pPr marL="90487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**Содержание воды в продукции скважины, определяемое как отношение дебита воды к дебиту жидкости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, %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>
            <a:off x="609600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H="1">
            <a:off x="724512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837962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 flipH="1">
            <a:off x="947665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>
            <a:off x="1062577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1176027" y="2852406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flipH="1">
            <a:off x="2342721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 flipH="1">
            <a:off x="2457633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 flipH="1">
            <a:off x="2571083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 flipH="1">
            <a:off x="2680786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 flipH="1">
            <a:off x="2795698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 flipH="1">
            <a:off x="2909148" y="286182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/>
          <p:cNvCxnSpPr/>
          <p:nvPr/>
        </p:nvCxnSpPr>
        <p:spPr>
          <a:xfrm flipH="1">
            <a:off x="3032236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 flipH="1">
            <a:off x="3147148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 flipH="1">
            <a:off x="3260598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 flipH="1">
            <a:off x="3370301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 flipH="1">
            <a:off x="3485213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H="1">
            <a:off x="3598663" y="2865738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 flipH="1">
            <a:off x="3704879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 flipH="1">
            <a:off x="3819791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 flipH="1">
            <a:off x="3933241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 flipH="1">
            <a:off x="4042944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flipH="1">
            <a:off x="4157856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 flipH="1">
            <a:off x="4271306" y="2871049"/>
            <a:ext cx="102861" cy="170194"/>
          </a:xfrm>
          <a:prstGeom prst="line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Picture 2" descr="ООО «Завод «Нефтегазоборудование» - Автоматизированная групповая замерная  установка (АГЗУ)">
            <a:extLst>
              <a:ext uri="{FF2B5EF4-FFF2-40B4-BE49-F238E27FC236}">
                <a16:creationId xmlns:a16="http://schemas.microsoft.com/office/drawing/2014/main" id="{7C9FB8DA-98C4-4E56-A3FA-368E620B2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444" y="1589658"/>
            <a:ext cx="1024356" cy="768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7" name="Прямая со стрелкой 126"/>
          <p:cNvCxnSpPr/>
          <p:nvPr/>
        </p:nvCxnSpPr>
        <p:spPr>
          <a:xfrm flipV="1">
            <a:off x="6176791" y="850900"/>
            <a:ext cx="1643941" cy="106715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Прямая со стрелкой 129"/>
          <p:cNvCxnSpPr>
            <a:stCxn id="98" idx="0"/>
          </p:cNvCxnSpPr>
          <p:nvPr/>
        </p:nvCxnSpPr>
        <p:spPr>
          <a:xfrm flipV="1">
            <a:off x="4172802" y="3397251"/>
            <a:ext cx="3783748" cy="369816"/>
          </a:xfrm>
          <a:prstGeom prst="straightConnector1">
            <a:avLst/>
          </a:prstGeom>
          <a:ln w="12700" cap="flat" cmpd="sng" algn="ctr">
            <a:solidFill>
              <a:srgbClr val="E71C57"/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135"/>
          <p:cNvCxnSpPr>
            <a:stCxn id="98" idx="2"/>
            <a:endCxn id="11" idx="1"/>
          </p:cNvCxnSpPr>
          <p:nvPr/>
        </p:nvCxnSpPr>
        <p:spPr>
          <a:xfrm>
            <a:off x="4172802" y="4228732"/>
            <a:ext cx="2713101" cy="857618"/>
          </a:xfrm>
          <a:prstGeom prst="straightConnector1">
            <a:avLst/>
          </a:prstGeom>
          <a:ln w="12700" cap="flat" cmpd="sng" algn="ctr">
            <a:solidFill>
              <a:schemeClr val="accent6">
                <a:lumMod val="60000"/>
                <a:lumOff val="40000"/>
              </a:schemeClr>
            </a:solidFill>
            <a:prstDash val="sysDot"/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370301" y="3770022"/>
            <a:ext cx="1689221" cy="456641"/>
          </a:xfrm>
          <a:prstGeom prst="rect">
            <a:avLst/>
          </a:prstGeom>
          <a:noFill/>
          <a:ln w="9525" cap="rnd" cmpd="sng" algn="ctr">
            <a:solidFill>
              <a:srgbClr val="E71C57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357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70" grpId="0"/>
      <p:bldP spid="98" grpId="0"/>
      <p:bldP spid="12" grpId="0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DC06B5-1A28-4E7A-B1A1-768413C54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188641"/>
            <a:ext cx="11413757" cy="610499"/>
          </a:xfrm>
        </p:spPr>
        <p:txBody>
          <a:bodyPr>
            <a:normAutofit/>
          </a:bodyPr>
          <a:lstStyle/>
          <a:p>
            <a:r>
              <a:rPr lang="ru-RU" dirty="0"/>
              <a:t>Исходные данные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118" y="799140"/>
            <a:ext cx="11172825" cy="28003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548" y="3758557"/>
            <a:ext cx="6581775" cy="277177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83118" y="1125997"/>
            <a:ext cx="11172825" cy="287167"/>
          </a:xfrm>
          <a:prstGeom prst="rect">
            <a:avLst/>
          </a:prstGeom>
          <a:noFill/>
          <a:ln w="381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477548" y="4066405"/>
            <a:ext cx="6459801" cy="287167"/>
          </a:xfrm>
          <a:prstGeom prst="rect">
            <a:avLst/>
          </a:prstGeom>
          <a:noFill/>
          <a:ln w="38100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793811" y="3985060"/>
            <a:ext cx="35643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Helvetica Neue"/>
              </a:rPr>
              <a:t>Целевая переменная - </a:t>
            </a:r>
            <a:r>
              <a:rPr lang="ru-RU" b="1" dirty="0">
                <a:solidFill>
                  <a:srgbClr val="000000"/>
                </a:solidFill>
                <a:latin typeface="Helvetica Neue"/>
              </a:rPr>
              <a:t>дебит жидкости</a:t>
            </a:r>
          </a:p>
          <a:p>
            <a:endParaRPr lang="ru-RU" dirty="0">
              <a:solidFill>
                <a:srgbClr val="000000"/>
              </a:solidFill>
              <a:latin typeface="Helvetica Neue"/>
            </a:endParaRPr>
          </a:p>
          <a:p>
            <a:r>
              <a:rPr lang="ru-RU" dirty="0">
                <a:solidFill>
                  <a:srgbClr val="000000"/>
                </a:solidFill>
                <a:latin typeface="Helvetica Neue"/>
              </a:rPr>
              <a:t>Необходимо восстановить значения данного параметра, замеры которого находится в столбце с названием "</a:t>
            </a:r>
            <a:r>
              <a:rPr lang="ru-RU" b="1" dirty="0">
                <a:solidFill>
                  <a:srgbClr val="000000"/>
                </a:solidFill>
                <a:latin typeface="Helvetica Neue"/>
              </a:rPr>
              <a:t>LIQ_RATE</a:t>
            </a:r>
            <a:r>
              <a:rPr lang="ru-RU" dirty="0">
                <a:solidFill>
                  <a:srgbClr val="000000"/>
                </a:solidFill>
                <a:latin typeface="Helvetica Neue"/>
              </a:rPr>
              <a:t>"</a:t>
            </a:r>
            <a:endParaRPr lang="ru-RU" b="0" i="0" dirty="0">
              <a:solidFill>
                <a:srgbClr val="000000"/>
              </a:solidFill>
              <a:effectLst/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23247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di0OYhe.3Q.8yjawV2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eruN51oroIC7P.VGGTU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cxP3drBIbSAUo9kSln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9XEu.DEQ8g9te0WFwi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D.Q2Emj_wnWYcv7OC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pDdgid.dfNzJU62Zg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mHwNZ2s9CuqrvIvMQb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nGztn1fJC0fwf4Mod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Xc20wSmat2yKmDrFg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1Vs135dqxqeYbcb1Ju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PbF591ZGgrpHzZWg4n0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xw3Ma.YWGwnUhvr5vj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qyhe2yamez5KU53xdP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odfn2j1PJLW86JT0N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87VPSXPUxch410nPUb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4viMi1uryx0tUs2hDs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79b1EEmNjtL8Wku3Yx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9rIRMbAucAm7t48eZhS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kQJbBqQbZOZSNz2s8X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P5Nzv8XY2i2Nxt5.C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pbSWwwe7o3GhywoMp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CYKLZESXnX2laQaHg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vlOqa6FZ0h9g4381v0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.F25MJTe9Dd5Re_wGC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FRSW5mFw1RqPG5UWgR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WfSSwsDunMYlH._dA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8VRF_IOs0oz.H5LST7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Id7YOtR5Yf06A0MN0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UPacFI1AFMAvp3w_HH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t.m9AK8On6ylH8l53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PezwQG.hRwtpaLZUn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trB.p27zBkZ270pDKZ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7684Oefn4GgS5Gn2j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8Df6Jea7JD85DjfVp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SMjzvteJgzxSU6S5Ce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dtwTFGfYmQm4CnCQ0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QtcauOv36tAOSOusKH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dDdkwB83aFWhRAmR7V0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kZizSCfBdZYQqiCXlK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BfiMGzZPVc5S4wix7d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lCi043PI9hgk5i0cZ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X1SaxGSS9RXAxgfc.B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B6RaIWVuFdTrqjl0i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byao2jJTFoDxbUfpd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HVcf_oMOS4JK1JRw5.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 Client 16:9 - 11119 ">
  <a:themeElements>
    <a:clrScheme name="GPN Client">
      <a:dk1>
        <a:srgbClr val="575757"/>
      </a:dk1>
      <a:lt1>
        <a:sysClr val="window" lastClr="FFFFFF"/>
      </a:lt1>
      <a:dk2>
        <a:srgbClr val="1E366B"/>
      </a:dk2>
      <a:lt2>
        <a:srgbClr val="F2F2F2"/>
      </a:lt2>
      <a:accent1>
        <a:srgbClr val="460D58"/>
      </a:accent1>
      <a:accent2>
        <a:srgbClr val="6053DF"/>
      </a:accent2>
      <a:accent3>
        <a:srgbClr val="38FFCD"/>
      </a:accent3>
      <a:accent4>
        <a:srgbClr val="335FFF"/>
      </a:accent4>
      <a:accent5>
        <a:srgbClr val="05BEE6"/>
      </a:accent5>
      <a:accent6>
        <a:srgbClr val="1E366B"/>
      </a:accent6>
      <a:hlink>
        <a:srgbClr val="460D58"/>
      </a:hlink>
      <a:folHlink>
        <a:srgbClr val="6053DF"/>
      </a:folHlink>
    </a:clrScheme>
    <a:fontScheme name="GPN">
      <a:majorFont>
        <a:latin typeface="DIN Pro Cond Bold"/>
        <a:ea typeface=""/>
        <a:cs typeface=""/>
      </a:majorFont>
      <a:minorFont>
        <a:latin typeface="DIN Pro Regula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flat" cmpd="sng" algn="ctr">
          <a:solidFill>
            <a:schemeClr val="bg1">
              <a:lumMod val="50000"/>
            </a:schemeClr>
          </a:solidFill>
          <a:prstDash val="sysDot"/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4</TotalTime>
  <Words>401</Words>
  <Application>Microsoft Office PowerPoint</Application>
  <PresentationFormat>Широкоэкранный</PresentationFormat>
  <Paragraphs>77</Paragraphs>
  <Slides>10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Calibri</vt:lpstr>
      <vt:lpstr>Cambria Math</vt:lpstr>
      <vt:lpstr>DIN Pro Cond Bold</vt:lpstr>
      <vt:lpstr>DIN Pro Regular</vt:lpstr>
      <vt:lpstr>Helvetica Neue</vt:lpstr>
      <vt:lpstr>Trebuchet MS</vt:lpstr>
      <vt:lpstr>Wingdings</vt:lpstr>
      <vt:lpstr>GPN Client 16:9 - 11119 </vt:lpstr>
      <vt:lpstr>think-cell Slide</vt:lpstr>
      <vt:lpstr>QR коды</vt:lpstr>
      <vt:lpstr>Презентация PowerPoint</vt:lpstr>
      <vt:lpstr>Презентация PowerPoint</vt:lpstr>
      <vt:lpstr>Хакатон – Это?</vt:lpstr>
      <vt:lpstr>Физические расходомеры</vt:lpstr>
      <vt:lpstr>Физические расходомеры</vt:lpstr>
      <vt:lpstr>ВИРТУАЛЬНЫЕ расходомеры</vt:lpstr>
      <vt:lpstr>Исходные данные</vt:lpstr>
      <vt:lpstr>Исходные данны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дукт V "Управление добычей на текущих мощностях"</dc:title>
  <dc:creator>Серёга Замахов</dc:creator>
  <cp:lastModifiedBy>Харицкий Данил</cp:lastModifiedBy>
  <cp:revision>133</cp:revision>
  <dcterms:created xsi:type="dcterms:W3CDTF">2022-02-01T22:03:19Z</dcterms:created>
  <dcterms:modified xsi:type="dcterms:W3CDTF">2023-05-18T10:35:34Z</dcterms:modified>
</cp:coreProperties>
</file>